
<file path=[Content_Types].xml><?xml version="1.0" encoding="utf-8"?>
<Types xmlns="http://schemas.openxmlformats.org/package/2006/content-types">
  <Default Extension="xml" ContentType="application/xml"/>
  <Default Extension="rels" ContentType="application/vnd.openxmlformats-package.relationships+xml"/>
  <Default Extension="png" ContentType="image/png"/>
  <Default Extension="jpeg" ContentType="image/jpeg"/>
  <Override PartName="/_rels/.rels" ContentType="application/vnd.openxmlformats-package.relationship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presentation.xml" ContentType="application/vnd.openxmlformats-officedocument.presentationml.presentation.main+xml"/>
  <Override PartName="/ppt/slideMasters/slideMaster12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_rels/slideMaster6.xml.rels" ContentType="application/vnd.openxmlformats-package.relationships+xml"/>
  <Override PartName="/ppt/slideMasters/_rels/slideMaster17.xml.rels" ContentType="application/vnd.openxmlformats-package.relationships+xml"/>
  <Override PartName="/ppt/slideMasters/_rels/slideMaster5.xml.rels" ContentType="application/vnd.openxmlformats-package.relationships+xml"/>
  <Override PartName="/ppt/slideMasters/_rels/slideMaster16.xml.rels" ContentType="application/vnd.openxmlformats-package.relationships+xml"/>
  <Override PartName="/ppt/slideMasters/_rels/slideMaster4.xml.rels" ContentType="application/vnd.openxmlformats-package.relationships+xml"/>
  <Override PartName="/ppt/slideMasters/_rels/slideMaster15.xml.rels" ContentType="application/vnd.openxmlformats-package.relationships+xml"/>
  <Override PartName="/ppt/slideMasters/_rels/slideMaster11.xml.rels" ContentType="application/vnd.openxmlformats-package.relationships+xml"/>
  <Override PartName="/ppt/slideMasters/_rels/slideMaster10.xml.rels" ContentType="application/vnd.openxmlformats-package.relationships+xml"/>
  <Override PartName="/ppt/slideMasters/_rels/slideMaster9.xml.rels" ContentType="application/vnd.openxmlformats-package.relationships+xml"/>
  <Override PartName="/ppt/slideMasters/_rels/slideMaster8.xml.rels" ContentType="application/vnd.openxmlformats-package.relationships+xml"/>
  <Override PartName="/ppt/slideMasters/_rels/slideMaster19.xml.rels" ContentType="application/vnd.openxmlformats-package.relationships+xml"/>
  <Override PartName="/ppt/slideMasters/_rels/slideMaster7.xml.rels" ContentType="application/vnd.openxmlformats-package.relationships+xml"/>
  <Override PartName="/ppt/slideMasters/_rels/slideMaster18.xml.rels" ContentType="application/vnd.openxmlformats-package.relationships+xml"/>
  <Override PartName="/ppt/slideMasters/_rels/slideMaster12.xml.rels" ContentType="application/vnd.openxmlformats-package.relationships+xml"/>
  <Override PartName="/ppt/slideMasters/_rels/slideMaster1.xml.rels" ContentType="application/vnd.openxmlformats-package.relationships+xml"/>
  <Override PartName="/ppt/slideMasters/_rels/slideMaster13.xml.rels" ContentType="application/vnd.openxmlformats-package.relationships+xml"/>
  <Override PartName="/ppt/slideMasters/_rels/slideMaster2.xml.rels" ContentType="application/vnd.openxmlformats-package.relationships+xml"/>
  <Override PartName="/ppt/slideMasters/_rels/slideMaster14.xml.rels" ContentType="application/vnd.openxmlformats-package.relationships+xml"/>
  <Override PartName="/ppt/slideMasters/_rels/slideMaster3.xml.rels" ContentType="application/vnd.openxmlformats-package.relationships+xml"/>
  <Override PartName="/ppt/slideMasters/slideMaster14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slideMasters/slideMaster13.xml" ContentType="application/vnd.openxmlformats-officedocument.presentationml.slideMaster+xml"/>
  <Override PartName="/ppt/presProps.xml" ContentType="application/vnd.openxmlformats-officedocument.presentationml.presProps+xml"/>
  <Override PartName="/ppt/theme/theme10.xml" ContentType="application/vnd.openxmlformats-officedocument.theme+xml"/>
  <Override PartName="/ppt/theme/theme9.xml" ContentType="application/vnd.openxmlformats-officedocument.theme+xml"/>
  <Override PartName="/ppt/theme/theme8.xml" ContentType="application/vnd.openxmlformats-officedocument.theme+xml"/>
  <Override PartName="/ppt/theme/theme7.xml" ContentType="application/vnd.openxmlformats-officedocument.theme+xml"/>
  <Override PartName="/ppt/theme/theme6.xml" ContentType="application/vnd.openxmlformats-officedocument.theme+xml"/>
  <Override PartName="/ppt/theme/theme5.xml" ContentType="application/vnd.openxmlformats-officedocument.theme+xml"/>
  <Override PartName="/ppt/theme/theme19.xml" ContentType="application/vnd.openxmlformats-officedocument.theme+xml"/>
  <Override PartName="/ppt/theme/theme18.xml" ContentType="application/vnd.openxmlformats-officedocument.theme+xml"/>
  <Override PartName="/ppt/theme/theme17.xml" ContentType="application/vnd.openxmlformats-officedocument.theme+xml"/>
  <Override PartName="/ppt/theme/theme16.xml" ContentType="application/vnd.openxmlformats-officedocument.theme+xml"/>
  <Override PartName="/ppt/theme/theme15.xml" ContentType="application/vnd.openxmlformats-officedocument.theme+xml"/>
  <Override PartName="/ppt/theme/theme14.xml" ContentType="application/vnd.openxmlformats-officedocument.theme+xml"/>
  <Override PartName="/ppt/theme/theme4.xml" ContentType="application/vnd.openxmlformats-officedocument.theme+xml"/>
  <Override PartName="/ppt/theme/theme1.xml" ContentType="application/vnd.openxmlformats-officedocument.theme+xml"/>
  <Override PartName="/ppt/theme/theme11.xml" ContentType="application/vnd.openxmlformats-officedocument.theme+xml"/>
  <Override PartName="/ppt/theme/theme2.xml" ContentType="application/vnd.openxmlformats-officedocument.theme+xml"/>
  <Override PartName="/ppt/theme/theme12.xml" ContentType="application/vnd.openxmlformats-officedocument.theme+xml"/>
  <Override PartName="/ppt/theme/theme3.xml" ContentType="application/vnd.openxmlformats-officedocument.theme+xml"/>
  <Override PartName="/ppt/theme/theme13.xml" ContentType="application/vnd.openxmlformats-officedocument.theme+xml"/>
  <Override PartName="/ppt/_rels/presentation.xml.rels" ContentType="application/vnd.openxmlformats-package.relationships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media/image10.jpeg" ContentType="image/jpeg"/>
  <Override PartName="/ppt/media/image9.png" ContentType="image/png"/>
  <Override PartName="/ppt/media/image15.jpeg" ContentType="image/jpeg"/>
  <Override PartName="/ppt/media/image14.jpeg" ContentType="image/jpeg"/>
  <Override PartName="/ppt/media/image1.wmf" ContentType="image/x-wmf"/>
  <Override PartName="/ppt/media/image2.png" ContentType="image/png"/>
  <Override PartName="/ppt/media/image3.svg" ContentType="image/svg"/>
  <Override PartName="/ppt/media/image6.png" ContentType="image/png"/>
  <Override PartName="/ppt/media/image5.png" ContentType="image/png"/>
  <Override PartName="/ppt/media/image7.png" ContentType="image/png"/>
  <Override PartName="/ppt/media/image8.png" ContentType="image/png"/>
  <Override PartName="/ppt/media/image12.png" ContentType="image/png"/>
  <Override PartName="/ppt/media/image11.jpeg" ContentType="image/jpeg"/>
  <Override PartName="/ppt/media/image13.png" ContentType="image/png"/>
  <Override PartName="/ppt/media/image4.png" ContentType="image/png"/>
  <Override PartName="/ppt/slideLayouts/slideLayout9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_rels/slideLayout5.xml.rels" ContentType="application/vnd.openxmlformats-package.relationships+xml"/>
  <Override PartName="/ppt/slideLayouts/_rels/slideLayout4.xml.rels" ContentType="application/vnd.openxmlformats-package.relationships+xml"/>
  <Override PartName="/ppt/slideLayouts/_rels/slideLayout3.xml.rels" ContentType="application/vnd.openxmlformats-package.relationships+xml"/>
  <Override PartName="/ppt/slideLayouts/_rels/slideLayout10.xml.rels" ContentType="application/vnd.openxmlformats-package.relationships+xml"/>
  <Override PartName="/ppt/slideLayouts/_rels/slideLayout2.xml.rels" ContentType="application/vnd.openxmlformats-package.relationships+xml"/>
  <Override PartName="/ppt/slideLayouts/_rels/slideLayout9.xml.rels" ContentType="application/vnd.openxmlformats-package.relationships+xml"/>
  <Override PartName="/ppt/slideLayouts/_rels/slideLayout17.xml.rels" ContentType="application/vnd.openxmlformats-package.relationships+xml"/>
  <Override PartName="/ppt/slideLayouts/_rels/slideLayout13.xml.rels" ContentType="application/vnd.openxmlformats-package.relationships+xml"/>
  <Override PartName="/ppt/slideLayouts/_rels/slideLayout8.xml.rels" ContentType="application/vnd.openxmlformats-package.relationships+xml"/>
  <Override PartName="/ppt/slideLayouts/_rels/slideLayout16.xml.rels" ContentType="application/vnd.openxmlformats-package.relationships+xml"/>
  <Override PartName="/ppt/slideLayouts/_rels/slideLayout12.xml.rels" ContentType="application/vnd.openxmlformats-package.relationships+xml"/>
  <Override PartName="/ppt/slideLayouts/_rels/slideLayout7.xml.rels" ContentType="application/vnd.openxmlformats-package.relationships+xml"/>
  <Override PartName="/ppt/slideLayouts/_rels/slideLayout15.xml.rels" ContentType="application/vnd.openxmlformats-package.relationships+xml"/>
  <Override PartName="/ppt/slideLayouts/_rels/slideLayout11.xml.rels" ContentType="application/vnd.openxmlformats-package.relationships+xml"/>
  <Override PartName="/ppt/slideLayouts/_rels/slideLayout18.xml.rels" ContentType="application/vnd.openxmlformats-package.relationships+xml"/>
  <Override PartName="/ppt/slideLayouts/_rels/slideLayout14.xml.rels" ContentType="application/vnd.openxmlformats-package.relationships+xml"/>
  <Override PartName="/ppt/slideLayouts/_rels/slideLayout6.xml.rels" ContentType="application/vnd.openxmlformats-package.relationships+xml"/>
  <Override PartName="/ppt/slideLayouts/_rels/slideLayout1.xml.rels" ContentType="application/vnd.openxmlformats-package.relationships+xml"/>
  <Override PartName="/ppt/slideLayouts/_rels/slideLayout19.xml.rels" ContentType="application/vnd.openxmlformats-package.relationship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_rels/slide5.xml.rels" ContentType="application/vnd.openxmlformats-package.relationships+xml"/>
  <Override PartName="/ppt/slides/_rels/slide21.xml.rels" ContentType="application/vnd.openxmlformats-package.relationships+xml"/>
  <Override PartName="/ppt/slides/_rels/slide19.xml.rels" ContentType="application/vnd.openxmlformats-package.relationships+xml"/>
  <Override PartName="/ppt/slides/_rels/slide4.xml.rels" ContentType="application/vnd.openxmlformats-package.relationships+xml"/>
  <Override PartName="/ppt/slides/_rels/slide20.xml.rels" ContentType="application/vnd.openxmlformats-package.relationships+xml"/>
  <Override PartName="/ppt/slides/_rels/slide18.xml.rels" ContentType="application/vnd.openxmlformats-package.relationships+xml"/>
  <Override PartName="/ppt/slides/_rels/slide3.xml.rels" ContentType="application/vnd.openxmlformats-package.relationships+xml"/>
  <Override PartName="/ppt/slides/_rels/slide17.xml.rels" ContentType="application/vnd.openxmlformats-package.relationships+xml"/>
  <Override PartName="/ppt/slides/_rels/slide2.xml.rels" ContentType="application/vnd.openxmlformats-package.relationships+xml"/>
  <Override PartName="/ppt/slides/_rels/slide16.xml.rels" ContentType="application/vnd.openxmlformats-package.relationships+xml"/>
  <Override PartName="/ppt/slides/_rels/slide13.xml.rels" ContentType="application/vnd.openxmlformats-package.relationships+xml"/>
  <Override PartName="/ppt/slides/_rels/slide12.xml.rels" ContentType="application/vnd.openxmlformats-package.relationships+xml"/>
  <Override PartName="/ppt/slides/_rels/slide9.xml.rels" ContentType="application/vnd.openxmlformats-package.relationships+xml"/>
  <Override PartName="/ppt/slides/_rels/slide11.xml.rels" ContentType="application/vnd.openxmlformats-package.relationships+xml"/>
  <Override PartName="/ppt/slides/_rels/slide23.xml.rels" ContentType="application/vnd.openxmlformats-package.relationships+xml"/>
  <Override PartName="/ppt/slides/_rels/slide8.xml.rels" ContentType="application/vnd.openxmlformats-package.relationships+xml"/>
  <Override PartName="/ppt/slides/_rels/slide10.xml.rels" ContentType="application/vnd.openxmlformats-package.relationships+xml"/>
  <Override PartName="/ppt/slides/_rels/slide22.xml.rels" ContentType="application/vnd.openxmlformats-package.relationships+xml"/>
  <Override PartName="/ppt/slides/_rels/slide7.xml.rels" ContentType="application/vnd.openxmlformats-package.relationships+xml"/>
  <Override PartName="/ppt/slides/_rels/slide6.xml.rels" ContentType="application/vnd.openxmlformats-package.relationships+xml"/>
  <Override PartName="/ppt/slides/_rels/slide14.xml.rels" ContentType="application/vnd.openxmlformats-package.relationships+xml"/>
  <Override PartName="/ppt/slides/_rels/slide15.xml.rels" ContentType="application/vnd.openxmlformats-package.relationships+xml"/>
  <Override PartName="/ppt/slides/_rels/slide1.xml.rels" ContentType="application/vnd.openxmlformats-package.relationships+xml"/>
  <Override PartName="/ppt/slides/slide13.xml" ContentType="application/vnd.openxmlformats-officedocument.presentationml.slide+xml"/>
  <Override PartName="/ppt/slides/slide12.xml" ContentType="application/vnd.openxmlformats-officedocument.presentationml.slide+xml"/>
  <Override PartName="/ppt/slides/slide9.xml" ContentType="application/vnd.openxmlformats-officedocument.presentationml.slide+xml"/>
  <Override PartName="/ppt/slides/slide11.xml" ContentType="application/vnd.openxmlformats-officedocument.presentationml.slide+xml"/>
  <Override PartName="/ppt/slides/slide8.xml" ContentType="application/vnd.openxmlformats-officedocument.presentationml.slide+xml"/>
  <Override PartName="/ppt/slides/slide10.xml" ContentType="application/vnd.openxmlformats-officedocument.presentationml.slide+xml"/>
  <Override PartName="/ppt/slides/slide7.xml" ContentType="application/vnd.openxmlformats-officedocument.presentationml.slide+xml"/>
  <Override PartName="/ppt/slides/slide23.xml" ContentType="application/vnd.openxmlformats-officedocument.presentationml.slide+xml"/>
  <Override PartName="/ppt/slides/slide6.xml" ContentType="application/vnd.openxmlformats-officedocument.presentationml.slide+xml"/>
  <Override PartName="/ppt/slides/slide22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.xml" ContentType="application/vnd.openxmlformats-officedocument.presentationml.slide+xml"/>
  <Override PartName="/ppt/slides/slide16.xml" ContentType="application/vnd.openxmlformats-officedocument.presentationml.slide+xml"/>
  <Override PartName="/ppt/slides/slide2.xml" ContentType="application/vnd.openxmlformats-officedocument.presentationml.slide+xml"/>
  <Override PartName="/ppt/slides/slide17.xml" ContentType="application/vnd.openxmlformats-officedocument.presentationml.slide+xml"/>
  <Override PartName="/ppt/slides/slide3.xml" ContentType="application/vnd.openxmlformats-officedocument.presentationml.slide+xml"/>
  <Override PartName="/ppt/slides/slide18.xml" ContentType="application/vnd.openxmlformats-officedocument.presentationml.slide+xml"/>
  <Override PartName="/ppt/slides/slide20.xml" ContentType="application/vnd.openxmlformats-officedocument.presentationml.slide+xml"/>
  <Override PartName="/ppt/slides/slide4.xml" ContentType="application/vnd.openxmlformats-officedocument.presentationml.slide+xml"/>
  <Override PartName="/ppt/slides/slide19.xml" ContentType="application/vnd.openxmlformats-officedocument.presentationml.slide+xml"/>
  <Override PartName="/ppt/slides/slide5.xml" ContentType="application/vnd.openxmlformats-officedocument.presentationml.slide+xml"/>
  <Override PartName="/ppt/slides/slide21.xml" ContentType="application/vnd.openxmlformats-officedocument.presentationml.slide+xml"/>
</Types>
</file>

<file path=_rels/.rels><?xml version="1.0" encoding="UTF-8"?>
<Relationships xmlns="http://schemas.openxmlformats.org/package/2006/relationships"><Relationship Id="rId1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3" Type="http://schemas.openxmlformats.org/officeDocument/2006/relationships/custom-properties" Target="docProps/custom.xml"/><Relationship Id="rId4" Type="http://schemas.openxmlformats.org/officeDocument/2006/relationships/officeDocument" Target="ppt/presentation.xml"/>
</Relationships>
</file>

<file path=ppt/presentation.xml><?xml version="1.0" encoding="utf-8"?>
<p:presentation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sldMasterIdLst>
    <p:sldMasterId id="2147483648" r:id="rId2"/>
    <p:sldMasterId id="2147483650" r:id="rId3"/>
    <p:sldMasterId id="2147483652" r:id="rId4"/>
    <p:sldMasterId id="2147483654" r:id="rId5"/>
    <p:sldMasterId id="2147483656" r:id="rId6"/>
    <p:sldMasterId id="2147483658" r:id="rId7"/>
    <p:sldMasterId id="2147483660" r:id="rId8"/>
    <p:sldMasterId id="2147483662" r:id="rId9"/>
    <p:sldMasterId id="2147483664" r:id="rId10"/>
    <p:sldMasterId id="2147483666" r:id="rId11"/>
    <p:sldMasterId id="2147483668" r:id="rId12"/>
    <p:sldMasterId id="2147483670" r:id="rId13"/>
    <p:sldMasterId id="2147483672" r:id="rId14"/>
    <p:sldMasterId id="2147483674" r:id="rId15"/>
    <p:sldMasterId id="2147483676" r:id="rId16"/>
    <p:sldMasterId id="2147483678" r:id="rId17"/>
    <p:sldMasterId id="2147483680" r:id="rId18"/>
    <p:sldMasterId id="2147483682" r:id="rId19"/>
    <p:sldMasterId id="2147483684" r:id="rId20"/>
  </p:sldMasterIdLst>
  <p:sldIdLst>
    <p:sldId id="256" r:id="rId21"/>
    <p:sldId id="257" r:id="rId22"/>
    <p:sldId id="258" r:id="rId23"/>
    <p:sldId id="259" r:id="rId24"/>
    <p:sldId id="260" r:id="rId25"/>
    <p:sldId id="261" r:id="rId26"/>
    <p:sldId id="262" r:id="rId27"/>
    <p:sldId id="263" r:id="rId28"/>
    <p:sldId id="264" r:id="rId29"/>
    <p:sldId id="265" r:id="rId30"/>
    <p:sldId id="266" r:id="rId31"/>
    <p:sldId id="267" r:id="rId32"/>
    <p:sldId id="268" r:id="rId33"/>
    <p:sldId id="269" r:id="rId34"/>
    <p:sldId id="270" r:id="rId35"/>
    <p:sldId id="271" r:id="rId36"/>
    <p:sldId id="272" r:id="rId37"/>
    <p:sldId id="273" r:id="rId38"/>
    <p:sldId id="274" r:id="rId39"/>
    <p:sldId id="275" r:id="rId40"/>
    <p:sldId id="276" r:id="rId41"/>
    <p:sldId id="277" r:id="rId42"/>
    <p:sldId id="278" r:id="rId43"/>
  </p:sldIdLst>
  <p:sldSz cx="12192000" cy="6858000"/>
  <p:notesSz cx="7559675" cy="10691813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/>
</p:presentationPr>
</file>

<file path=ppt/_rels/presentation.xml.rels><?xml version="1.0" encoding="UTF-8"?>
<Relationships xmlns="http://schemas.openxmlformats.org/package/2006/relationships"><Relationship Id="rId1" Type="http://schemas.openxmlformats.org/officeDocument/2006/relationships/theme" Target="theme/theme1.xml"/><Relationship Id="rId2" Type="http://schemas.openxmlformats.org/officeDocument/2006/relationships/slideMaster" Target="slideMasters/slideMaster1.xml"/><Relationship Id="rId3" Type="http://schemas.openxmlformats.org/officeDocument/2006/relationships/slideMaster" Target="slideMasters/slideMaster2.xml"/><Relationship Id="rId4" Type="http://schemas.openxmlformats.org/officeDocument/2006/relationships/slideMaster" Target="slideMasters/slideMaster3.xml"/><Relationship Id="rId5" Type="http://schemas.openxmlformats.org/officeDocument/2006/relationships/slideMaster" Target="slideMasters/slideMaster4.xml"/><Relationship Id="rId6" Type="http://schemas.openxmlformats.org/officeDocument/2006/relationships/slideMaster" Target="slideMasters/slideMaster5.xml"/><Relationship Id="rId7" Type="http://schemas.openxmlformats.org/officeDocument/2006/relationships/slideMaster" Target="slideMasters/slideMaster6.xml"/><Relationship Id="rId8" Type="http://schemas.openxmlformats.org/officeDocument/2006/relationships/slideMaster" Target="slideMasters/slideMaster7.xml"/><Relationship Id="rId9" Type="http://schemas.openxmlformats.org/officeDocument/2006/relationships/slideMaster" Target="slideMasters/slideMaster8.xml"/><Relationship Id="rId10" Type="http://schemas.openxmlformats.org/officeDocument/2006/relationships/slideMaster" Target="slideMasters/slideMaster9.xml"/><Relationship Id="rId11" Type="http://schemas.openxmlformats.org/officeDocument/2006/relationships/slideMaster" Target="slideMasters/slideMaster10.xml"/><Relationship Id="rId12" Type="http://schemas.openxmlformats.org/officeDocument/2006/relationships/slideMaster" Target="slideMasters/slideMaster11.xml"/><Relationship Id="rId13" Type="http://schemas.openxmlformats.org/officeDocument/2006/relationships/slideMaster" Target="slideMasters/slideMaster12.xml"/><Relationship Id="rId14" Type="http://schemas.openxmlformats.org/officeDocument/2006/relationships/slideMaster" Target="slideMasters/slideMaster13.xml"/><Relationship Id="rId15" Type="http://schemas.openxmlformats.org/officeDocument/2006/relationships/slideMaster" Target="slideMasters/slideMaster14.xml"/><Relationship Id="rId16" Type="http://schemas.openxmlformats.org/officeDocument/2006/relationships/slideMaster" Target="slideMasters/slideMaster15.xml"/><Relationship Id="rId17" Type="http://schemas.openxmlformats.org/officeDocument/2006/relationships/slideMaster" Target="slideMasters/slideMaster16.xml"/><Relationship Id="rId18" Type="http://schemas.openxmlformats.org/officeDocument/2006/relationships/slideMaster" Target="slideMasters/slideMaster17.xml"/><Relationship Id="rId19" Type="http://schemas.openxmlformats.org/officeDocument/2006/relationships/slideMaster" Target="slideMasters/slideMaster18.xml"/><Relationship Id="rId20" Type="http://schemas.openxmlformats.org/officeDocument/2006/relationships/slideMaster" Target="slideMasters/slideMaster19.xml"/><Relationship Id="rId21" Type="http://schemas.openxmlformats.org/officeDocument/2006/relationships/slide" Target="slides/slide1.xml"/><Relationship Id="rId22" Type="http://schemas.openxmlformats.org/officeDocument/2006/relationships/slide" Target="slides/slide2.xml"/><Relationship Id="rId23" Type="http://schemas.openxmlformats.org/officeDocument/2006/relationships/slide" Target="slides/slide3.xml"/><Relationship Id="rId24" Type="http://schemas.openxmlformats.org/officeDocument/2006/relationships/slide" Target="slides/slide4.xml"/><Relationship Id="rId25" Type="http://schemas.openxmlformats.org/officeDocument/2006/relationships/slide" Target="slides/slide5.xml"/><Relationship Id="rId26" Type="http://schemas.openxmlformats.org/officeDocument/2006/relationships/slide" Target="slides/slide6.xml"/><Relationship Id="rId27" Type="http://schemas.openxmlformats.org/officeDocument/2006/relationships/slide" Target="slides/slide7.xml"/><Relationship Id="rId28" Type="http://schemas.openxmlformats.org/officeDocument/2006/relationships/slide" Target="slides/slide8.xml"/><Relationship Id="rId29" Type="http://schemas.openxmlformats.org/officeDocument/2006/relationships/slide" Target="slides/slide9.xml"/><Relationship Id="rId30" Type="http://schemas.openxmlformats.org/officeDocument/2006/relationships/slide" Target="slides/slide10.xml"/><Relationship Id="rId31" Type="http://schemas.openxmlformats.org/officeDocument/2006/relationships/slide" Target="slides/slide11.xml"/><Relationship Id="rId32" Type="http://schemas.openxmlformats.org/officeDocument/2006/relationships/slide" Target="slides/slide12.xml"/><Relationship Id="rId33" Type="http://schemas.openxmlformats.org/officeDocument/2006/relationships/slide" Target="slides/slide13.xml"/><Relationship Id="rId34" Type="http://schemas.openxmlformats.org/officeDocument/2006/relationships/slide" Target="slides/slide14.xml"/><Relationship Id="rId35" Type="http://schemas.openxmlformats.org/officeDocument/2006/relationships/slide" Target="slides/slide15.xml"/><Relationship Id="rId36" Type="http://schemas.openxmlformats.org/officeDocument/2006/relationships/slide" Target="slides/slide16.xml"/><Relationship Id="rId37" Type="http://schemas.openxmlformats.org/officeDocument/2006/relationships/slide" Target="slides/slide17.xml"/><Relationship Id="rId38" Type="http://schemas.openxmlformats.org/officeDocument/2006/relationships/slide" Target="slides/slide18.xml"/><Relationship Id="rId39" Type="http://schemas.openxmlformats.org/officeDocument/2006/relationships/slide" Target="slides/slide19.xml"/><Relationship Id="rId40" Type="http://schemas.openxmlformats.org/officeDocument/2006/relationships/slide" Target="slides/slide20.xml"/><Relationship Id="rId41" Type="http://schemas.openxmlformats.org/officeDocument/2006/relationships/slide" Target="slides/slide21.xml"/><Relationship Id="rId42" Type="http://schemas.openxmlformats.org/officeDocument/2006/relationships/slide" Target="slides/slide22.xml"/><Relationship Id="rId43" Type="http://schemas.openxmlformats.org/officeDocument/2006/relationships/slide" Target="slides/slide23.xml"/><Relationship Id="rId44" Type="http://schemas.openxmlformats.org/officeDocument/2006/relationships/presProps" Target="presProps.xml"/>
</Relationships>
</file>

<file path=ppt/slideLayouts/_rels/slideLayout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0.xml"/>
</Relationships>
</file>

<file path=ppt/slideLayouts/_rels/slideLayout1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1.xml"/>
</Relationships>
</file>

<file path=ppt/slideLayouts/_rels/slideLayout1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2.xml"/>
</Relationships>
</file>

<file path=ppt/slideLayouts/_rels/slideLayout1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3.xml"/>
</Relationships>
</file>

<file path=ppt/slideLayouts/_rels/slideLayout1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4.xml"/>
</Relationships>
</file>

<file path=ppt/slideLayouts/_rels/slideLayout1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5.xml"/>
</Relationships>
</file>

<file path=ppt/slideLayouts/_rels/slideLayout1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6.xml"/>
</Relationships>
</file>

<file path=ppt/slideLayouts/_rels/slideLayout1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7.xml"/>
</Relationships>
</file>

<file path=ppt/slideLayouts/_rels/slideLayout1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8.xml"/>
</Relationships>
</file>

<file path=ppt/slideLayouts/_rels/slideLayout1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9.xml"/>
</Relationships>
</file>

<file path=ppt/slideLayouts/_rels/slideLayout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5.xml"/>
</Relationships>
</file>

<file path=ppt/slideLayouts/_rels/slideLayout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6.xml"/>
</Relationships>
</file>

<file path=ppt/slideLayouts/_rels/slideLayout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7.xml"/>
</Relationships>
</file>

<file path=ppt/slideLayouts/_rels/slideLayout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8.xml"/>
</Relationships>
</file>

<file path=ppt/slideLayouts/_rels/slideLayout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9.xml"/>
</Relationships>
</file>

<file path=ppt/slideLayouts/slideLayout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1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1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Пустой 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1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Отб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1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7"/>
          </p:nvPr>
        </p:nvSpPr>
        <p:spPr/>
        <p:txBody>
          <a:bodyPr/>
          <a:p>
            <a:fld id="{21E7644D-50A4-4A94-98AB-1447AF956A33}" type="slidenum">
              <a:t>&lt;#&gt;</a:t>
            </a:fld>
          </a:p>
        </p:txBody>
      </p:sp>
    </p:spTree>
  </p:cSld>
</p:sldLayout>
</file>

<file path=ppt/slideLayouts/slideLayout1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Заголовок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8"/>
          </p:nvPr>
        </p:nvSpPr>
        <p:spPr/>
        <p:txBody>
          <a:bodyPr/>
          <a:p>
            <a:fld id="{4FFE08B2-3401-4A79-9758-C8E0F9D04638}" type="slidenum">
              <a:t>&lt;#&gt;</a:t>
            </a:fld>
          </a:p>
        </p:txBody>
      </p:sp>
    </p:spTree>
  </p:cSld>
</p:sldLayout>
</file>

<file path=ppt/slideLayouts/slideLayout1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Крупный тези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1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Команда_3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9"/>
          </p:nvPr>
        </p:nvSpPr>
        <p:spPr/>
        <p:txBody>
          <a:bodyPr/>
          <a:p>
            <a:fld id="{77DA613A-15A4-4331-90EF-AC4EB1D47DCE}" type="slidenum">
              <a:t>&lt;#&gt;</a:t>
            </a:fld>
          </a:p>
        </p:txBody>
      </p:sp>
    </p:spTree>
  </p:cSld>
</p:sldLayout>
</file>

<file path=ppt/slideLayouts/slideLayout1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Команда_4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10"/>
          </p:nvPr>
        </p:nvSpPr>
        <p:spPr/>
        <p:txBody>
          <a:bodyPr/>
          <a:p>
            <a:fld id="{3089F129-5FE0-44EB-A638-1404018162A9}" type="slidenum">
              <a:t>&lt;#&gt;</a:t>
            </a:fld>
          </a:p>
        </p:txBody>
      </p:sp>
    </p:spTree>
  </p:cSld>
</p:sldLayout>
</file>

<file path=ppt/slideLayouts/slideLayout1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Команда_6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11"/>
          </p:nvPr>
        </p:nvSpPr>
        <p:spPr/>
        <p:txBody>
          <a:bodyPr/>
          <a:p>
            <a:fld id="{B1029631-C432-4B09-924A-FD63AEBE85AE}" type="slidenum">
              <a:t>&lt;#&gt;</a:t>
            </a:fld>
          </a:p>
        </p:txBody>
      </p:sp>
    </p:spTree>
  </p:cSld>
</p:sldLayout>
</file>

<file path=ppt/slideLayouts/slideLayout1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Акцент и серый бл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12"/>
          </p:nvPr>
        </p:nvSpPr>
        <p:spPr/>
        <p:txBody>
          <a:bodyPr/>
          <a:p>
            <a:fld id="{19695E82-B7E7-4B34-B6F7-655D3879DEC9}" type="slidenum">
              <a:t>&lt;#&gt;</a:t>
            </a:fld>
          </a:p>
        </p:txBody>
      </p:sp>
    </p:spTree>
  </p:cSld>
</p:sldLayout>
</file>

<file path=ppt/slideLayouts/slideLayout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Два блока текста с цифр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1"/>
          </p:nvPr>
        </p:nvSpPr>
        <p:spPr/>
        <p:txBody>
          <a:bodyPr/>
          <a:p>
            <a:fld id="{070469E5-CF96-441B-A815-1333AA0326AA}" type="slidenum">
              <a:t>&lt;#&gt;</a:t>
            </a:fld>
          </a:p>
        </p:txBody>
      </p:sp>
    </p:spTree>
  </p:cSld>
</p:sldLayout>
</file>

<file path=ppt/slideLayouts/slideLayout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Три блока текста с цифр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C63F870E-D0F0-4D36-9E1F-ABD2E37B00E6}" type="slidenum">
              <a:t>&lt;#&gt;</a:t>
            </a:fld>
          </a:p>
        </p:txBody>
      </p:sp>
    </p:spTree>
  </p:cSld>
</p:sldLayout>
</file>

<file path=ppt/slideLayouts/slideLayout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Шесть блоков текста с цифр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07252E01-C026-4FAB-91B2-A6ED85357EE0}" type="slidenum">
              <a:t>&lt;#&gt;</a:t>
            </a:fld>
          </a:p>
        </p:txBody>
      </p:sp>
    </p:spTree>
  </p:cSld>
</p:sldLayout>
</file>

<file path=ppt/slideLayouts/slideLayout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Буллиты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4"/>
          </p:nvPr>
        </p:nvSpPr>
        <p:spPr/>
        <p:txBody>
          <a:bodyPr/>
          <a:p>
            <a:fld id="{DBA2B1E4-00C0-4F45-A18E-585F5AC7EFE9}" type="slidenum">
              <a:t>&lt;#&gt;</a:t>
            </a:fld>
          </a:p>
        </p:txBody>
      </p:sp>
    </p:spTree>
  </p:cSld>
</p:sldLayout>
</file>

<file path=ppt/slideLayouts/slideLayout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Ключевые цифр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Три ключевые цифр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5"/>
          </p:nvPr>
        </p:nvSpPr>
        <p:spPr/>
        <p:txBody>
          <a:bodyPr/>
          <a:p>
            <a:fld id="{769363EA-201B-4FD6-91AA-A36EDA95E7AE}" type="slidenum">
              <a:t>&lt;#&gt;</a:t>
            </a:fld>
          </a:p>
        </p:txBody>
      </p:sp>
    </p:spTree>
  </p:cSld>
</p:sldLayout>
</file>

<file path=ppt/slideLayouts/slideLayout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Таймлай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6"/>
          </p:nvPr>
        </p:nvSpPr>
        <p:spPr/>
        <p:txBody>
          <a:bodyPr/>
          <a:p>
            <a:fld id="{E5C77CA3-8290-436D-96A6-A054DCEA891D}" type="slidenum">
              <a:t>&lt;#&gt;</a:t>
            </a:fld>
          </a:p>
        </p:txBody>
      </p:sp>
    </p:spTree>
  </p:cSld>
</p:sldLayout>
</file>

<file path=ppt/slideLayouts/slideLayout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Спасиб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Masters/_rels/slideMaster1.xml.rels><?xml version="1.0" encoding="UTF-8"?>
<Relationships xmlns="http://schemas.openxmlformats.org/package/2006/relationships"><Relationship Id="rId1" Type="http://schemas.openxmlformats.org/officeDocument/2006/relationships/theme" Target="../theme/theme1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image" Target="../media/image2.png"/><Relationship Id="rId5" Type="http://schemas.openxmlformats.org/officeDocument/2006/relationships/image" Target="../media/image3.svg"/><Relationship Id="rId6" Type="http://schemas.openxmlformats.org/officeDocument/2006/relationships/slideLayout" Target="../slideLayouts/slideLayout1.xml"/>
</Relationships>
</file>

<file path=ppt/slideMasters/_rels/slideMaster10.xml.rels><?xml version="1.0" encoding="UTF-8"?>
<Relationships xmlns="http://schemas.openxmlformats.org/package/2006/relationships"><Relationship Id="rId1" Type="http://schemas.openxmlformats.org/officeDocument/2006/relationships/theme" Target="../theme/theme10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wmf"/><Relationship Id="rId6" Type="http://schemas.openxmlformats.org/officeDocument/2006/relationships/slideLayout" Target="../slideLayouts/slideLayout10.xml"/>
</Relationships>
</file>

<file path=ppt/slideMasters/_rels/slideMaster11.xml.rels><?xml version="1.0" encoding="UTF-8"?>
<Relationships xmlns="http://schemas.openxmlformats.org/package/2006/relationships"><Relationship Id="rId1" Type="http://schemas.openxmlformats.org/officeDocument/2006/relationships/theme" Target="../theme/theme11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1.xml"/>
</Relationships>
</file>

<file path=ppt/slideMasters/_rels/slideMaster12.xml.rels><?xml version="1.0" encoding="UTF-8"?>
<Relationships xmlns="http://schemas.openxmlformats.org/package/2006/relationships"><Relationship Id="rId1" Type="http://schemas.openxmlformats.org/officeDocument/2006/relationships/theme" Target="../theme/theme12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wmf"/><Relationship Id="rId6" Type="http://schemas.openxmlformats.org/officeDocument/2006/relationships/slideLayout" Target="../slideLayouts/slideLayout12.xml"/>
</Relationships>
</file>

<file path=ppt/slideMasters/_rels/slideMaster13.xml.rels><?xml version="1.0" encoding="UTF-8"?>
<Relationships xmlns="http://schemas.openxmlformats.org/package/2006/relationships"><Relationship Id="rId1" Type="http://schemas.openxmlformats.org/officeDocument/2006/relationships/theme" Target="../theme/theme13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wmf"/><Relationship Id="rId6" Type="http://schemas.openxmlformats.org/officeDocument/2006/relationships/slideLayout" Target="../slideLayouts/slideLayout13.xml"/>
</Relationships>
</file>

<file path=ppt/slideMasters/_rels/slideMaster14.xml.rels><?xml version="1.0" encoding="UTF-8"?>
<Relationships xmlns="http://schemas.openxmlformats.org/package/2006/relationships"><Relationship Id="rId1" Type="http://schemas.openxmlformats.org/officeDocument/2006/relationships/theme" Target="../theme/theme14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wmf"/><Relationship Id="rId6" Type="http://schemas.openxmlformats.org/officeDocument/2006/relationships/slideLayout" Target="../slideLayouts/slideLayout14.xml"/>
</Relationships>
</file>

<file path=ppt/slideMasters/_rels/slideMaster15.xml.rels><?xml version="1.0" encoding="UTF-8"?>
<Relationships xmlns="http://schemas.openxmlformats.org/package/2006/relationships"><Relationship Id="rId1" Type="http://schemas.openxmlformats.org/officeDocument/2006/relationships/theme" Target="../theme/theme15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5.xml"/>
</Relationships>
</file>

<file path=ppt/slideMasters/_rels/slideMaster16.xml.rels><?xml version="1.0" encoding="UTF-8"?>
<Relationships xmlns="http://schemas.openxmlformats.org/package/2006/relationships"><Relationship Id="rId1" Type="http://schemas.openxmlformats.org/officeDocument/2006/relationships/theme" Target="../theme/theme16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wmf"/><Relationship Id="rId6" Type="http://schemas.openxmlformats.org/officeDocument/2006/relationships/slideLayout" Target="../slideLayouts/slideLayout16.xml"/>
</Relationships>
</file>

<file path=ppt/slideMasters/_rels/slideMaster17.xml.rels><?xml version="1.0" encoding="UTF-8"?>
<Relationships xmlns="http://schemas.openxmlformats.org/package/2006/relationships"><Relationship Id="rId1" Type="http://schemas.openxmlformats.org/officeDocument/2006/relationships/theme" Target="../theme/theme17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wmf"/><Relationship Id="rId6" Type="http://schemas.openxmlformats.org/officeDocument/2006/relationships/slideLayout" Target="../slideLayouts/slideLayout17.xml"/>
</Relationships>
</file>

<file path=ppt/slideMasters/_rels/slideMaster18.xml.rels><?xml version="1.0" encoding="UTF-8"?>
<Relationships xmlns="http://schemas.openxmlformats.org/package/2006/relationships"><Relationship Id="rId1" Type="http://schemas.openxmlformats.org/officeDocument/2006/relationships/theme" Target="../theme/theme18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wmf"/><Relationship Id="rId6" Type="http://schemas.openxmlformats.org/officeDocument/2006/relationships/slideLayout" Target="../slideLayouts/slideLayout18.xml"/>
</Relationships>
</file>

<file path=ppt/slideMasters/_rels/slideMaster19.xml.rels><?xml version="1.0" encoding="UTF-8"?>
<Relationships xmlns="http://schemas.openxmlformats.org/package/2006/relationships"><Relationship Id="rId1" Type="http://schemas.openxmlformats.org/officeDocument/2006/relationships/theme" Target="../theme/theme19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wmf"/><Relationship Id="rId6" Type="http://schemas.openxmlformats.org/officeDocument/2006/relationships/slideLayout" Target="../slideLayouts/slideLayout19.xml"/>
</Relationships>
</file>

<file path=ppt/slideMasters/_rels/slideMaster2.xml.rels><?xml version="1.0" encoding="UTF-8"?>
<Relationships xmlns="http://schemas.openxmlformats.org/package/2006/relationships"><Relationship Id="rId1" Type="http://schemas.openxmlformats.org/officeDocument/2006/relationships/theme" Target="../theme/theme2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wmf"/><Relationship Id="rId6" Type="http://schemas.openxmlformats.org/officeDocument/2006/relationships/slideLayout" Target="../slideLayouts/slideLayout2.xml"/>
</Relationships>
</file>

<file path=ppt/slideMasters/_rels/slideMaster3.xml.rels><?xml version="1.0" encoding="UTF-8"?>
<Relationships xmlns="http://schemas.openxmlformats.org/package/2006/relationships"><Relationship Id="rId1" Type="http://schemas.openxmlformats.org/officeDocument/2006/relationships/theme" Target="../theme/theme3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wmf"/><Relationship Id="rId6" Type="http://schemas.openxmlformats.org/officeDocument/2006/relationships/slideLayout" Target="../slideLayouts/slideLayout3.xml"/>
</Relationships>
</file>

<file path=ppt/slideMasters/_rels/slideMaster4.xml.rels><?xml version="1.0" encoding="UTF-8"?>
<Relationships xmlns="http://schemas.openxmlformats.org/package/2006/relationships"><Relationship Id="rId1" Type="http://schemas.openxmlformats.org/officeDocument/2006/relationships/theme" Target="../theme/theme4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wmf"/><Relationship Id="rId6" Type="http://schemas.openxmlformats.org/officeDocument/2006/relationships/slideLayout" Target="../slideLayouts/slideLayout4.xml"/>
</Relationships>
</file>

<file path=ppt/slideMasters/_rels/slideMaster5.xml.rels><?xml version="1.0" encoding="UTF-8"?>
<Relationships xmlns="http://schemas.openxmlformats.org/package/2006/relationships"><Relationship Id="rId1" Type="http://schemas.openxmlformats.org/officeDocument/2006/relationships/theme" Target="../theme/theme5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wmf"/><Relationship Id="rId6" Type="http://schemas.openxmlformats.org/officeDocument/2006/relationships/slideLayout" Target="../slideLayouts/slideLayout5.xml"/>
</Relationships>
</file>

<file path=ppt/slideMasters/_rels/slideMaster6.xml.rels><?xml version="1.0" encoding="UTF-8"?>
<Relationships xmlns="http://schemas.openxmlformats.org/package/2006/relationships"><Relationship Id="rId1" Type="http://schemas.openxmlformats.org/officeDocument/2006/relationships/theme" Target="../theme/theme6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wmf"/><Relationship Id="rId6" Type="http://schemas.openxmlformats.org/officeDocument/2006/relationships/slideLayout" Target="../slideLayouts/slideLayout6.xml"/>
</Relationships>
</file>

<file path=ppt/slideMasters/_rels/slideMaster7.xml.rels><?xml version="1.0" encoding="UTF-8"?>
<Relationships xmlns="http://schemas.openxmlformats.org/package/2006/relationships"><Relationship Id="rId1" Type="http://schemas.openxmlformats.org/officeDocument/2006/relationships/theme" Target="../theme/theme7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wmf"/><Relationship Id="rId6" Type="http://schemas.openxmlformats.org/officeDocument/2006/relationships/slideLayout" Target="../slideLayouts/slideLayout7.xml"/>
</Relationships>
</file>

<file path=ppt/slideMasters/_rels/slideMaster8.xml.rels><?xml version="1.0" encoding="UTF-8"?>
<Relationships xmlns="http://schemas.openxmlformats.org/package/2006/relationships"><Relationship Id="rId1" Type="http://schemas.openxmlformats.org/officeDocument/2006/relationships/theme" Target="../theme/theme8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wmf"/><Relationship Id="rId6" Type="http://schemas.openxmlformats.org/officeDocument/2006/relationships/slideLayout" Target="../slideLayouts/slideLayout8.xml"/>
</Relationships>
</file>

<file path=ppt/slideMasters/_rels/slideMaster9.xml.rels><?xml version="1.0" encoding="UTF-8"?>
<Relationships xmlns="http://schemas.openxmlformats.org/package/2006/relationships"><Relationship Id="rId1" Type="http://schemas.openxmlformats.org/officeDocument/2006/relationships/theme" Target="../theme/theme9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wmf"/><Relationship Id="rId6" Type="http://schemas.openxmlformats.org/officeDocument/2006/relationships/image" Target="../media/image2.png"/><Relationship Id="rId7" Type="http://schemas.openxmlformats.org/officeDocument/2006/relationships/image" Target="../media/image3.svg"/><Relationship Id="rId8" Type="http://schemas.openxmlformats.org/officeDocument/2006/relationships/slideLayout" Target="../slideLayouts/slideLayout9.xml"/>
</Relationships>
</file>

<file path=ppt/slideMasters/slideMaster1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dad06e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1" name="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" name="Прямоугольник 15"/>
          <p:cNvSpPr/>
          <p:nvPr/>
        </p:nvSpPr>
        <p:spPr>
          <a:xfrm>
            <a:off x="12422160" y="521028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" name="Прямоугольник 16"/>
          <p:cNvSpPr/>
          <p:nvPr/>
        </p:nvSpPr>
        <p:spPr>
          <a:xfrm>
            <a:off x="13270680" y="5210280"/>
            <a:ext cx="672480" cy="3157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4" name="Прямоугольник 17"/>
          <p:cNvSpPr/>
          <p:nvPr/>
        </p:nvSpPr>
        <p:spPr>
          <a:xfrm>
            <a:off x="12422160" y="6096600"/>
            <a:ext cx="672480" cy="315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5" name="Прямоугольник 18"/>
          <p:cNvSpPr/>
          <p:nvPr/>
        </p:nvSpPr>
        <p:spPr>
          <a:xfrm>
            <a:off x="12422160" y="6540120"/>
            <a:ext cx="672480" cy="3157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6" name="Прямоугольник 34"/>
          <p:cNvSpPr/>
          <p:nvPr/>
        </p:nvSpPr>
        <p:spPr>
          <a:xfrm>
            <a:off x="12422160" y="565344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7" name="Прямоугольник 35"/>
          <p:cNvSpPr/>
          <p:nvPr/>
        </p:nvSpPr>
        <p:spPr>
          <a:xfrm>
            <a:off x="13270680" y="5653440"/>
            <a:ext cx="672480" cy="31572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8" name="Прямоугольник 36"/>
          <p:cNvSpPr/>
          <p:nvPr/>
        </p:nvSpPr>
        <p:spPr>
          <a:xfrm>
            <a:off x="13265640" y="609660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9" name="Прямоугольник 37"/>
          <p:cNvSpPr/>
          <p:nvPr/>
        </p:nvSpPr>
        <p:spPr>
          <a:xfrm>
            <a:off x="13270680" y="654012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0" name="TextBox 41"/>
          <p:cNvSpPr/>
          <p:nvPr/>
        </p:nvSpPr>
        <p:spPr>
          <a:xfrm>
            <a:off x="12422160" y="4928400"/>
            <a:ext cx="86364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Фон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" name="TextBox 42"/>
          <p:cNvSpPr/>
          <p:nvPr/>
        </p:nvSpPr>
        <p:spPr>
          <a:xfrm>
            <a:off x="13265640" y="4928400"/>
            <a:ext cx="134460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Выделения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2" name="Прямая соединительная линия 46"/>
          <p:cNvCxnSpPr/>
          <p:nvPr/>
        </p:nvCxnSpPr>
        <p:spPr>
          <a:xfrm>
            <a:off x="12421800" y="559080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13" name="Прямая соединительная линия 47"/>
          <p:cNvCxnSpPr/>
          <p:nvPr/>
        </p:nvCxnSpPr>
        <p:spPr>
          <a:xfrm>
            <a:off x="12421800" y="603396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14" name="Прямая соединительная линия 49"/>
          <p:cNvCxnSpPr/>
          <p:nvPr/>
        </p:nvCxnSpPr>
        <p:spPr>
          <a:xfrm>
            <a:off x="12421800" y="647712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15" name="Прямая соединительная линия 11"/>
          <p:cNvCxnSpPr/>
          <p:nvPr/>
        </p:nvCxnSpPr>
        <p:spPr>
          <a:xfrm>
            <a:off x="299880" y="5362560"/>
            <a:ext cx="6772680" cy="2160"/>
          </a:xfrm>
          <a:prstGeom prst="straightConnector1">
            <a:avLst/>
          </a:prstGeom>
          <a:ln w="9525">
            <a:solidFill>
              <a:srgbClr val="313131"/>
            </a:solidFill>
            <a:round/>
          </a:ln>
        </p:spPr>
      </p:cxnSp>
      <p:cxnSp>
        <p:nvCxnSpPr>
          <p:cNvPr id="16" name="Прямая соединительная линия 15"/>
          <p:cNvCxnSpPr/>
          <p:nvPr/>
        </p:nvCxnSpPr>
        <p:spPr>
          <a:xfrm>
            <a:off x="7174440" y="5455440"/>
            <a:ext cx="2160" cy="1107720"/>
          </a:xfrm>
          <a:prstGeom prst="straightConnector1">
            <a:avLst/>
          </a:prstGeom>
          <a:ln w="9525">
            <a:solidFill>
              <a:srgbClr val="313131"/>
            </a:solidFill>
            <a:round/>
          </a:ln>
        </p:spPr>
      </p:cxnSp>
      <p:cxnSp>
        <p:nvCxnSpPr>
          <p:cNvPr id="17" name="Прямая соединительная линия 16"/>
          <p:cNvCxnSpPr/>
          <p:nvPr/>
        </p:nvCxnSpPr>
        <p:spPr>
          <a:xfrm>
            <a:off x="7277040" y="5362560"/>
            <a:ext cx="4617000" cy="2160"/>
          </a:xfrm>
          <a:prstGeom prst="straightConnector1">
            <a:avLst/>
          </a:prstGeom>
          <a:ln w="9525">
            <a:solidFill>
              <a:srgbClr val="313131"/>
            </a:solidFill>
            <a:round/>
          </a:ln>
        </p:spPr>
      </p:cxnSp>
      <p:pic>
        <p:nvPicPr>
          <p:cNvPr id="18" name="Рисунок 2" descr=""/>
          <p:cNvPicPr/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/>
        </p:blipFill>
        <p:spPr>
          <a:xfrm>
            <a:off x="9812160" y="6387480"/>
            <a:ext cx="2077920" cy="211680"/>
          </a:xfrm>
          <a:prstGeom prst="rect">
            <a:avLst/>
          </a:prstGeom>
          <a:ln w="0">
            <a:noFill/>
          </a:ln>
        </p:spPr>
      </p:pic>
      <p:sp>
        <p:nvSpPr>
          <p:cNvPr id="1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49" r:id="rId6"/>
  </p:sldLayoutIdLst>
</p:sldMaster>
</file>

<file path=ppt/slideMasters/slideMaster10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dk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5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196" name="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97" name="Прямоугольник 15"/>
          <p:cNvSpPr/>
          <p:nvPr/>
        </p:nvSpPr>
        <p:spPr>
          <a:xfrm>
            <a:off x="12422160" y="521028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98" name="Прямоугольник 16"/>
          <p:cNvSpPr/>
          <p:nvPr/>
        </p:nvSpPr>
        <p:spPr>
          <a:xfrm>
            <a:off x="13270680" y="5210280"/>
            <a:ext cx="672480" cy="3157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99" name="Прямоугольник 17"/>
          <p:cNvSpPr/>
          <p:nvPr/>
        </p:nvSpPr>
        <p:spPr>
          <a:xfrm>
            <a:off x="12422160" y="6096600"/>
            <a:ext cx="672480" cy="315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00" name="Прямоугольник 18"/>
          <p:cNvSpPr/>
          <p:nvPr/>
        </p:nvSpPr>
        <p:spPr>
          <a:xfrm>
            <a:off x="12422160" y="6540120"/>
            <a:ext cx="672480" cy="3157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01" name="Прямоугольник 34"/>
          <p:cNvSpPr/>
          <p:nvPr/>
        </p:nvSpPr>
        <p:spPr>
          <a:xfrm>
            <a:off x="12422160" y="565344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02" name="Прямоугольник 35"/>
          <p:cNvSpPr/>
          <p:nvPr/>
        </p:nvSpPr>
        <p:spPr>
          <a:xfrm>
            <a:off x="13270680" y="5653440"/>
            <a:ext cx="672480" cy="31572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03" name="Прямоугольник 36"/>
          <p:cNvSpPr/>
          <p:nvPr/>
        </p:nvSpPr>
        <p:spPr>
          <a:xfrm>
            <a:off x="13265640" y="609660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04" name="Прямоугольник 37"/>
          <p:cNvSpPr/>
          <p:nvPr/>
        </p:nvSpPr>
        <p:spPr>
          <a:xfrm>
            <a:off x="13270680" y="654012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05" name="TextBox 41"/>
          <p:cNvSpPr/>
          <p:nvPr/>
        </p:nvSpPr>
        <p:spPr>
          <a:xfrm>
            <a:off x="12422160" y="4928400"/>
            <a:ext cx="86364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Фон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6" name="TextBox 42"/>
          <p:cNvSpPr/>
          <p:nvPr/>
        </p:nvSpPr>
        <p:spPr>
          <a:xfrm>
            <a:off x="13265640" y="4928400"/>
            <a:ext cx="134460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Выделения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207" name="Прямая соединительная линия 46"/>
          <p:cNvCxnSpPr/>
          <p:nvPr/>
        </p:nvCxnSpPr>
        <p:spPr>
          <a:xfrm>
            <a:off x="12421800" y="559080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208" name="Прямая соединительная линия 47"/>
          <p:cNvCxnSpPr/>
          <p:nvPr/>
        </p:nvCxnSpPr>
        <p:spPr>
          <a:xfrm>
            <a:off x="12421800" y="603396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209" name="Прямая соединительная линия 49"/>
          <p:cNvCxnSpPr/>
          <p:nvPr/>
        </p:nvCxnSpPr>
        <p:spPr>
          <a:xfrm>
            <a:off x="12421800" y="647712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graphicFrame>
        <p:nvGraphicFramePr>
          <p:cNvPr id="210" name="think-cell data - do not delete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4" spid="">
              <p:embed/>
              <p:pic>
                <p:nvPicPr>
                  <p:cNvPr id="211" name="think-cell data - do not delete" descr=""/>
                  <p:cNvPicPr/>
                  <p:nvPr/>
                </p:nvPicPr>
                <p:blipFill>
                  <a:blip r:embed="rId5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</p:spTree>
  </p:cSld>
  <p:clrMap bg1="lt1" bg2="lt2" tx1="dk1" tx2="dk2" accent1="accent1" accent2="accent2" accent3="accent3" accent4="accent4" accent5="accent5" accent6="accent6" hlink="hlink" folHlink="folHlink"/>
  <p:sldLayoutIdLst>
    <p:sldLayoutId id="2147483667" r:id="rId6"/>
  </p:sldLayoutIdLst>
</p:sldMaster>
</file>

<file path=ppt/slideMasters/slideMaster11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dk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2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213" name="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14" name="Прямоугольник 15"/>
          <p:cNvSpPr/>
          <p:nvPr/>
        </p:nvSpPr>
        <p:spPr>
          <a:xfrm>
            <a:off x="12422160" y="521028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15" name="Прямоугольник 16"/>
          <p:cNvSpPr/>
          <p:nvPr/>
        </p:nvSpPr>
        <p:spPr>
          <a:xfrm>
            <a:off x="13270680" y="5210280"/>
            <a:ext cx="672480" cy="3157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16" name="Прямоугольник 17"/>
          <p:cNvSpPr/>
          <p:nvPr/>
        </p:nvSpPr>
        <p:spPr>
          <a:xfrm>
            <a:off x="12422160" y="6096600"/>
            <a:ext cx="672480" cy="315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17" name="Прямоугольник 18"/>
          <p:cNvSpPr/>
          <p:nvPr/>
        </p:nvSpPr>
        <p:spPr>
          <a:xfrm>
            <a:off x="12422160" y="6540120"/>
            <a:ext cx="672480" cy="3157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18" name="Прямоугольник 34"/>
          <p:cNvSpPr/>
          <p:nvPr/>
        </p:nvSpPr>
        <p:spPr>
          <a:xfrm>
            <a:off x="12422160" y="565344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19" name="Прямоугольник 35"/>
          <p:cNvSpPr/>
          <p:nvPr/>
        </p:nvSpPr>
        <p:spPr>
          <a:xfrm>
            <a:off x="13270680" y="5653440"/>
            <a:ext cx="672480" cy="31572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20" name="Прямоугольник 36"/>
          <p:cNvSpPr/>
          <p:nvPr/>
        </p:nvSpPr>
        <p:spPr>
          <a:xfrm>
            <a:off x="13265640" y="609660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21" name="Прямоугольник 37"/>
          <p:cNvSpPr/>
          <p:nvPr/>
        </p:nvSpPr>
        <p:spPr>
          <a:xfrm>
            <a:off x="13270680" y="654012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22" name="TextBox 41"/>
          <p:cNvSpPr/>
          <p:nvPr/>
        </p:nvSpPr>
        <p:spPr>
          <a:xfrm>
            <a:off x="12422160" y="4928400"/>
            <a:ext cx="86364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Фон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3" name="TextBox 42"/>
          <p:cNvSpPr/>
          <p:nvPr/>
        </p:nvSpPr>
        <p:spPr>
          <a:xfrm>
            <a:off x="13265640" y="4928400"/>
            <a:ext cx="134460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Выделения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224" name="Прямая соединительная линия 46"/>
          <p:cNvCxnSpPr/>
          <p:nvPr/>
        </p:nvCxnSpPr>
        <p:spPr>
          <a:xfrm>
            <a:off x="12421800" y="559080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225" name="Прямая соединительная линия 47"/>
          <p:cNvCxnSpPr/>
          <p:nvPr/>
        </p:nvCxnSpPr>
        <p:spPr>
          <a:xfrm>
            <a:off x="12421800" y="603396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226" name="Прямая соединительная линия 49"/>
          <p:cNvCxnSpPr/>
          <p:nvPr/>
        </p:nvCxnSpPr>
        <p:spPr>
          <a:xfrm>
            <a:off x="12421800" y="647712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9" r:id="rId4"/>
  </p:sldLayoutIdLst>
</p:sldMaster>
</file>

<file path=ppt/slideMasters/slideMaster12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dad06e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7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228" name="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29" name="Прямоугольник 15"/>
          <p:cNvSpPr/>
          <p:nvPr/>
        </p:nvSpPr>
        <p:spPr>
          <a:xfrm>
            <a:off x="12422160" y="521028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30" name="Прямоугольник 16"/>
          <p:cNvSpPr/>
          <p:nvPr/>
        </p:nvSpPr>
        <p:spPr>
          <a:xfrm>
            <a:off x="13270680" y="5210280"/>
            <a:ext cx="672480" cy="3157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31" name="Прямоугольник 17"/>
          <p:cNvSpPr/>
          <p:nvPr/>
        </p:nvSpPr>
        <p:spPr>
          <a:xfrm>
            <a:off x="12422160" y="6096600"/>
            <a:ext cx="672480" cy="315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32" name="Прямоугольник 18"/>
          <p:cNvSpPr/>
          <p:nvPr/>
        </p:nvSpPr>
        <p:spPr>
          <a:xfrm>
            <a:off x="12422160" y="6540120"/>
            <a:ext cx="672480" cy="3157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33" name="Прямоугольник 34"/>
          <p:cNvSpPr/>
          <p:nvPr/>
        </p:nvSpPr>
        <p:spPr>
          <a:xfrm>
            <a:off x="12422160" y="565344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34" name="Прямоугольник 35"/>
          <p:cNvSpPr/>
          <p:nvPr/>
        </p:nvSpPr>
        <p:spPr>
          <a:xfrm>
            <a:off x="13270680" y="5653440"/>
            <a:ext cx="672480" cy="31572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35" name="Прямоугольник 36"/>
          <p:cNvSpPr/>
          <p:nvPr/>
        </p:nvSpPr>
        <p:spPr>
          <a:xfrm>
            <a:off x="13265640" y="609660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36" name="Прямоугольник 37"/>
          <p:cNvSpPr/>
          <p:nvPr/>
        </p:nvSpPr>
        <p:spPr>
          <a:xfrm>
            <a:off x="13270680" y="654012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37" name="TextBox 41"/>
          <p:cNvSpPr/>
          <p:nvPr/>
        </p:nvSpPr>
        <p:spPr>
          <a:xfrm>
            <a:off x="12422160" y="4928400"/>
            <a:ext cx="86364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Фон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8" name="TextBox 42"/>
          <p:cNvSpPr/>
          <p:nvPr/>
        </p:nvSpPr>
        <p:spPr>
          <a:xfrm>
            <a:off x="13265640" y="4928400"/>
            <a:ext cx="134460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Выделения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239" name="Прямая соединительная линия 46"/>
          <p:cNvCxnSpPr/>
          <p:nvPr/>
        </p:nvCxnSpPr>
        <p:spPr>
          <a:xfrm>
            <a:off x="12421800" y="559080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240" name="Прямая соединительная линия 47"/>
          <p:cNvCxnSpPr/>
          <p:nvPr/>
        </p:nvCxnSpPr>
        <p:spPr>
          <a:xfrm>
            <a:off x="12421800" y="603396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241" name="Прямая соединительная линия 49"/>
          <p:cNvCxnSpPr/>
          <p:nvPr/>
        </p:nvCxnSpPr>
        <p:spPr>
          <a:xfrm>
            <a:off x="12421800" y="647712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graphicFrame>
        <p:nvGraphicFramePr>
          <p:cNvPr id="242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4" spid="">
              <p:embed/>
              <p:pic>
                <p:nvPicPr>
                  <p:cNvPr id="243" name="" descr=""/>
                  <p:cNvPicPr/>
                  <p:nvPr/>
                </p:nvPicPr>
                <p:blipFill>
                  <a:blip r:embed="rId5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4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5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71" r:id="rId6"/>
  </p:sldLayoutIdLst>
</p:sldMaster>
</file>

<file path=ppt/slideMasters/slideMaster13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dk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6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247" name="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48" name="Прямоугольник 15"/>
          <p:cNvSpPr/>
          <p:nvPr/>
        </p:nvSpPr>
        <p:spPr>
          <a:xfrm>
            <a:off x="12422160" y="521028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49" name="Прямоугольник 16"/>
          <p:cNvSpPr/>
          <p:nvPr/>
        </p:nvSpPr>
        <p:spPr>
          <a:xfrm>
            <a:off x="13270680" y="5210280"/>
            <a:ext cx="672480" cy="3157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50" name="Прямоугольник 17"/>
          <p:cNvSpPr/>
          <p:nvPr/>
        </p:nvSpPr>
        <p:spPr>
          <a:xfrm>
            <a:off x="12422160" y="6096600"/>
            <a:ext cx="672480" cy="315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51" name="Прямоугольник 18"/>
          <p:cNvSpPr/>
          <p:nvPr/>
        </p:nvSpPr>
        <p:spPr>
          <a:xfrm>
            <a:off x="12422160" y="6540120"/>
            <a:ext cx="672480" cy="3157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52" name="Прямоугольник 34"/>
          <p:cNvSpPr/>
          <p:nvPr/>
        </p:nvSpPr>
        <p:spPr>
          <a:xfrm>
            <a:off x="12422160" y="565344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53" name="Прямоугольник 35"/>
          <p:cNvSpPr/>
          <p:nvPr/>
        </p:nvSpPr>
        <p:spPr>
          <a:xfrm>
            <a:off x="13270680" y="5653440"/>
            <a:ext cx="672480" cy="31572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54" name="Прямоугольник 36"/>
          <p:cNvSpPr/>
          <p:nvPr/>
        </p:nvSpPr>
        <p:spPr>
          <a:xfrm>
            <a:off x="13265640" y="609660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55" name="Прямоугольник 37"/>
          <p:cNvSpPr/>
          <p:nvPr/>
        </p:nvSpPr>
        <p:spPr>
          <a:xfrm>
            <a:off x="13270680" y="654012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56" name="TextBox 41"/>
          <p:cNvSpPr/>
          <p:nvPr/>
        </p:nvSpPr>
        <p:spPr>
          <a:xfrm>
            <a:off x="12422160" y="4928400"/>
            <a:ext cx="86364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Фон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7" name="TextBox 42"/>
          <p:cNvSpPr/>
          <p:nvPr/>
        </p:nvSpPr>
        <p:spPr>
          <a:xfrm>
            <a:off x="13265640" y="4928400"/>
            <a:ext cx="134460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Выделения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258" name="Прямая соединительная линия 46"/>
          <p:cNvCxnSpPr/>
          <p:nvPr/>
        </p:nvCxnSpPr>
        <p:spPr>
          <a:xfrm>
            <a:off x="12421800" y="559080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259" name="Прямая соединительная линия 47"/>
          <p:cNvCxnSpPr/>
          <p:nvPr/>
        </p:nvCxnSpPr>
        <p:spPr>
          <a:xfrm>
            <a:off x="12421800" y="603396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260" name="Прямая соединительная линия 49"/>
          <p:cNvCxnSpPr/>
          <p:nvPr/>
        </p:nvCxnSpPr>
        <p:spPr>
          <a:xfrm>
            <a:off x="12421800" y="647712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graphicFrame>
        <p:nvGraphicFramePr>
          <p:cNvPr id="261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4" spid="">
              <p:embed/>
              <p:pic>
                <p:nvPicPr>
                  <p:cNvPr id="262" name="" descr=""/>
                  <p:cNvPicPr/>
                  <p:nvPr/>
                </p:nvPicPr>
                <p:blipFill>
                  <a:blip r:embed="rId5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63" name="PlaceHolder 1"/>
          <p:cNvSpPr>
            <a:spLocks noGrp="1"/>
          </p:cNvSpPr>
          <p:nvPr>
            <p:ph type="sldNum" idx="7"/>
          </p:nvPr>
        </p:nvSpPr>
        <p:spPr>
          <a:xfrm>
            <a:off x="11228040" y="6609600"/>
            <a:ext cx="656280" cy="3975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r" defTabSz="914400">
              <a:lnSpc>
                <a:spcPct val="100000"/>
              </a:lnSpc>
              <a:buNone/>
              <a:tabLst>
                <a:tab algn="l" pos="0"/>
              </a:tabLst>
              <a:defRPr b="0" lang="ru-RU" sz="1000" spc="-1" strike="noStrike">
                <a:solidFill>
                  <a:schemeClr val="lt1"/>
                </a:solidFill>
                <a:latin typeface="YS Text Light"/>
              </a:defRPr>
            </a:lvl1pPr>
          </a:lstStyle>
          <a:p>
            <a:pPr indent="0" algn="r" defTabSz="914400">
              <a:lnSpc>
                <a:spcPct val="100000"/>
              </a:lnSpc>
              <a:buNone/>
              <a:tabLst>
                <a:tab algn="l" pos="0"/>
              </a:tabLst>
            </a:pPr>
            <a:fld id="{30EDAD29-9FD7-419C-95F8-7A710AC32BED}" type="slidenum">
              <a:rPr b="0" lang="ru-RU" sz="1000" spc="-1" strike="noStrike">
                <a:solidFill>
                  <a:schemeClr val="lt1"/>
                </a:solidFill>
                <a:latin typeface="YS Text Light"/>
              </a:rPr>
              <a:t>&lt;номер&gt;</a:t>
            </a:fld>
            <a:endParaRPr b="0" lang="ru-RU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73" r:id="rId6"/>
  </p:sldLayoutIdLst>
</p:sldMaster>
</file>

<file path=ppt/slideMasters/slideMaster14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dk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4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265" name="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66" name="Прямоугольник 15"/>
          <p:cNvSpPr/>
          <p:nvPr/>
        </p:nvSpPr>
        <p:spPr>
          <a:xfrm>
            <a:off x="12422160" y="521028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67" name="Прямоугольник 16"/>
          <p:cNvSpPr/>
          <p:nvPr/>
        </p:nvSpPr>
        <p:spPr>
          <a:xfrm>
            <a:off x="13270680" y="5210280"/>
            <a:ext cx="672480" cy="3157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68" name="Прямоугольник 17"/>
          <p:cNvSpPr/>
          <p:nvPr/>
        </p:nvSpPr>
        <p:spPr>
          <a:xfrm>
            <a:off x="12422160" y="6096600"/>
            <a:ext cx="672480" cy="315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69" name="Прямоугольник 18"/>
          <p:cNvSpPr/>
          <p:nvPr/>
        </p:nvSpPr>
        <p:spPr>
          <a:xfrm>
            <a:off x="12422160" y="6540120"/>
            <a:ext cx="672480" cy="3157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70" name="Прямоугольник 34"/>
          <p:cNvSpPr/>
          <p:nvPr/>
        </p:nvSpPr>
        <p:spPr>
          <a:xfrm>
            <a:off x="12422160" y="565344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71" name="Прямоугольник 35"/>
          <p:cNvSpPr/>
          <p:nvPr/>
        </p:nvSpPr>
        <p:spPr>
          <a:xfrm>
            <a:off x="13270680" y="5653440"/>
            <a:ext cx="672480" cy="31572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72" name="Прямоугольник 36"/>
          <p:cNvSpPr/>
          <p:nvPr/>
        </p:nvSpPr>
        <p:spPr>
          <a:xfrm>
            <a:off x="13265640" y="609660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73" name="Прямоугольник 37"/>
          <p:cNvSpPr/>
          <p:nvPr/>
        </p:nvSpPr>
        <p:spPr>
          <a:xfrm>
            <a:off x="13270680" y="654012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74" name="TextBox 41"/>
          <p:cNvSpPr/>
          <p:nvPr/>
        </p:nvSpPr>
        <p:spPr>
          <a:xfrm>
            <a:off x="12422160" y="4928400"/>
            <a:ext cx="86364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Фон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5" name="TextBox 42"/>
          <p:cNvSpPr/>
          <p:nvPr/>
        </p:nvSpPr>
        <p:spPr>
          <a:xfrm>
            <a:off x="13265640" y="4928400"/>
            <a:ext cx="134460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Выделения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276" name="Прямая соединительная линия 46"/>
          <p:cNvCxnSpPr/>
          <p:nvPr/>
        </p:nvCxnSpPr>
        <p:spPr>
          <a:xfrm>
            <a:off x="12421800" y="559080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277" name="Прямая соединительная линия 47"/>
          <p:cNvCxnSpPr/>
          <p:nvPr/>
        </p:nvCxnSpPr>
        <p:spPr>
          <a:xfrm>
            <a:off x="12421800" y="603396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278" name="Прямая соединительная линия 49"/>
          <p:cNvCxnSpPr/>
          <p:nvPr/>
        </p:nvCxnSpPr>
        <p:spPr>
          <a:xfrm>
            <a:off x="12421800" y="647712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graphicFrame>
        <p:nvGraphicFramePr>
          <p:cNvPr id="279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4" spid="">
              <p:embed/>
              <p:pic>
                <p:nvPicPr>
                  <p:cNvPr id="280" name="" descr=""/>
                  <p:cNvPicPr/>
                  <p:nvPr/>
                </p:nvPicPr>
                <p:blipFill>
                  <a:blip r:embed="rId5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81" name="PlaceHolder 1"/>
          <p:cNvSpPr>
            <a:spLocks noGrp="1"/>
          </p:cNvSpPr>
          <p:nvPr>
            <p:ph type="sldNum" idx="8"/>
          </p:nvPr>
        </p:nvSpPr>
        <p:spPr>
          <a:xfrm>
            <a:off x="11228040" y="6609600"/>
            <a:ext cx="656280" cy="3975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r" defTabSz="914400">
              <a:lnSpc>
                <a:spcPct val="100000"/>
              </a:lnSpc>
              <a:buNone/>
              <a:tabLst>
                <a:tab algn="l" pos="0"/>
              </a:tabLst>
              <a:defRPr b="0" lang="ru-RU" sz="1000" spc="-1" strike="noStrike">
                <a:solidFill>
                  <a:schemeClr val="lt1"/>
                </a:solidFill>
                <a:latin typeface="YS Text Light"/>
              </a:defRPr>
            </a:lvl1pPr>
          </a:lstStyle>
          <a:p>
            <a:pPr indent="0" algn="r" defTabSz="914400">
              <a:lnSpc>
                <a:spcPct val="100000"/>
              </a:lnSpc>
              <a:buNone/>
              <a:tabLst>
                <a:tab algn="l" pos="0"/>
              </a:tabLst>
            </a:pPr>
            <a:fld id="{69AAEB90-31EC-4B7D-AB52-83D919966E19}" type="slidenum">
              <a:rPr b="0" lang="ru-RU" sz="1000" spc="-1" strike="noStrike">
                <a:solidFill>
                  <a:schemeClr val="lt1"/>
                </a:solidFill>
                <a:latin typeface="YS Text Light"/>
              </a:rPr>
              <a:t>&lt;номер&gt;</a:t>
            </a:fld>
            <a:endParaRPr b="0" lang="ru-RU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82" name="PlaceHolder 2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3" name="PlaceHolder 3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75" r:id="rId6"/>
  </p:sldLayoutIdLst>
</p:sldMaster>
</file>

<file path=ppt/slideMasters/slideMaster15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dad06e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4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285" name="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86" name="Прямоугольник 15"/>
          <p:cNvSpPr/>
          <p:nvPr/>
        </p:nvSpPr>
        <p:spPr>
          <a:xfrm>
            <a:off x="12422160" y="521028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87" name="Прямоугольник 16"/>
          <p:cNvSpPr/>
          <p:nvPr/>
        </p:nvSpPr>
        <p:spPr>
          <a:xfrm>
            <a:off x="13270680" y="5210280"/>
            <a:ext cx="672480" cy="3157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88" name="Прямоугольник 17"/>
          <p:cNvSpPr/>
          <p:nvPr/>
        </p:nvSpPr>
        <p:spPr>
          <a:xfrm>
            <a:off x="12422160" y="6096600"/>
            <a:ext cx="672480" cy="315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89" name="Прямоугольник 18"/>
          <p:cNvSpPr/>
          <p:nvPr/>
        </p:nvSpPr>
        <p:spPr>
          <a:xfrm>
            <a:off x="12422160" y="6540120"/>
            <a:ext cx="672480" cy="3157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90" name="Прямоугольник 34"/>
          <p:cNvSpPr/>
          <p:nvPr/>
        </p:nvSpPr>
        <p:spPr>
          <a:xfrm>
            <a:off x="12422160" y="565344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91" name="Прямоугольник 35"/>
          <p:cNvSpPr/>
          <p:nvPr/>
        </p:nvSpPr>
        <p:spPr>
          <a:xfrm>
            <a:off x="13270680" y="5653440"/>
            <a:ext cx="672480" cy="31572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92" name="Прямоугольник 36"/>
          <p:cNvSpPr/>
          <p:nvPr/>
        </p:nvSpPr>
        <p:spPr>
          <a:xfrm>
            <a:off x="13265640" y="609660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93" name="Прямоугольник 37"/>
          <p:cNvSpPr/>
          <p:nvPr/>
        </p:nvSpPr>
        <p:spPr>
          <a:xfrm>
            <a:off x="13270680" y="654012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94" name="TextBox 41"/>
          <p:cNvSpPr/>
          <p:nvPr/>
        </p:nvSpPr>
        <p:spPr>
          <a:xfrm>
            <a:off x="12422160" y="4928400"/>
            <a:ext cx="86364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Фон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5" name="TextBox 42"/>
          <p:cNvSpPr/>
          <p:nvPr/>
        </p:nvSpPr>
        <p:spPr>
          <a:xfrm>
            <a:off x="13265640" y="4928400"/>
            <a:ext cx="134460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Выделения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296" name="Прямая соединительная линия 46"/>
          <p:cNvCxnSpPr/>
          <p:nvPr/>
        </p:nvCxnSpPr>
        <p:spPr>
          <a:xfrm>
            <a:off x="12421800" y="559080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297" name="Прямая соединительная линия 47"/>
          <p:cNvCxnSpPr/>
          <p:nvPr/>
        </p:nvCxnSpPr>
        <p:spPr>
          <a:xfrm>
            <a:off x="12421800" y="603396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298" name="Прямая соединительная линия 49"/>
          <p:cNvCxnSpPr/>
          <p:nvPr/>
        </p:nvCxnSpPr>
        <p:spPr>
          <a:xfrm>
            <a:off x="12421800" y="647712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sp>
        <p:nvSpPr>
          <p:cNvPr id="29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</a:t>
            </a: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заглавия </a:t>
            </a: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0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77" r:id="rId4"/>
  </p:sldLayoutIdLst>
</p:sldMaster>
</file>

<file path=ppt/slideMasters/slideMaster16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dk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1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302" name="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303" name="Прямоугольник 15"/>
          <p:cNvSpPr/>
          <p:nvPr/>
        </p:nvSpPr>
        <p:spPr>
          <a:xfrm>
            <a:off x="12422160" y="521028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04" name="Прямоугольник 16"/>
          <p:cNvSpPr/>
          <p:nvPr/>
        </p:nvSpPr>
        <p:spPr>
          <a:xfrm>
            <a:off x="13270680" y="5210280"/>
            <a:ext cx="672480" cy="3157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05" name="Прямоугольник 17"/>
          <p:cNvSpPr/>
          <p:nvPr/>
        </p:nvSpPr>
        <p:spPr>
          <a:xfrm>
            <a:off x="12422160" y="6096600"/>
            <a:ext cx="672480" cy="315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06" name="Прямоугольник 18"/>
          <p:cNvSpPr/>
          <p:nvPr/>
        </p:nvSpPr>
        <p:spPr>
          <a:xfrm>
            <a:off x="12422160" y="6540120"/>
            <a:ext cx="672480" cy="3157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07" name="Прямоугольник 34"/>
          <p:cNvSpPr/>
          <p:nvPr/>
        </p:nvSpPr>
        <p:spPr>
          <a:xfrm>
            <a:off x="12422160" y="565344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08" name="Прямоугольник 35"/>
          <p:cNvSpPr/>
          <p:nvPr/>
        </p:nvSpPr>
        <p:spPr>
          <a:xfrm>
            <a:off x="13270680" y="5653440"/>
            <a:ext cx="672480" cy="31572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09" name="Прямоугольник 36"/>
          <p:cNvSpPr/>
          <p:nvPr/>
        </p:nvSpPr>
        <p:spPr>
          <a:xfrm>
            <a:off x="13265640" y="609660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10" name="Прямоугольник 37"/>
          <p:cNvSpPr/>
          <p:nvPr/>
        </p:nvSpPr>
        <p:spPr>
          <a:xfrm>
            <a:off x="13270680" y="654012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11" name="TextBox 41"/>
          <p:cNvSpPr/>
          <p:nvPr/>
        </p:nvSpPr>
        <p:spPr>
          <a:xfrm>
            <a:off x="12422160" y="4928400"/>
            <a:ext cx="86364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Фон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2" name="TextBox 42"/>
          <p:cNvSpPr/>
          <p:nvPr/>
        </p:nvSpPr>
        <p:spPr>
          <a:xfrm>
            <a:off x="13265640" y="4928400"/>
            <a:ext cx="134460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Выделения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313" name="Прямая соединительная линия 46"/>
          <p:cNvCxnSpPr/>
          <p:nvPr/>
        </p:nvCxnSpPr>
        <p:spPr>
          <a:xfrm>
            <a:off x="12421800" y="559080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314" name="Прямая соединительная линия 47"/>
          <p:cNvCxnSpPr/>
          <p:nvPr/>
        </p:nvCxnSpPr>
        <p:spPr>
          <a:xfrm>
            <a:off x="12421800" y="603396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315" name="Прямая соединительная линия 49"/>
          <p:cNvCxnSpPr/>
          <p:nvPr/>
        </p:nvCxnSpPr>
        <p:spPr>
          <a:xfrm>
            <a:off x="12421800" y="647712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graphicFrame>
        <p:nvGraphicFramePr>
          <p:cNvPr id="316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4" spid="">
              <p:embed/>
              <p:pic>
                <p:nvPicPr>
                  <p:cNvPr id="317" name="" descr=""/>
                  <p:cNvPicPr/>
                  <p:nvPr/>
                </p:nvPicPr>
                <p:blipFill>
                  <a:blip r:embed="rId5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318" name="Скругленный прямоугольник 6"/>
          <p:cNvSpPr/>
          <p:nvPr/>
        </p:nvSpPr>
        <p:spPr>
          <a:xfrm>
            <a:off x="306720" y="1628640"/>
            <a:ext cx="3732840" cy="4714200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19" name="Скругленный прямоугольник 10"/>
          <p:cNvSpPr/>
          <p:nvPr/>
        </p:nvSpPr>
        <p:spPr>
          <a:xfrm>
            <a:off x="4231800" y="1628640"/>
            <a:ext cx="3732840" cy="4714200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20" name="Скругленный прямоугольник 19"/>
          <p:cNvSpPr/>
          <p:nvPr/>
        </p:nvSpPr>
        <p:spPr>
          <a:xfrm>
            <a:off x="8156880" y="1628640"/>
            <a:ext cx="3732840" cy="4714200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21" name="PlaceHolder 1"/>
          <p:cNvSpPr>
            <a:spLocks noGrp="1"/>
          </p:cNvSpPr>
          <p:nvPr>
            <p:ph type="sldNum" idx="9"/>
          </p:nvPr>
        </p:nvSpPr>
        <p:spPr>
          <a:xfrm>
            <a:off x="11228040" y="6609600"/>
            <a:ext cx="656280" cy="3975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r" defTabSz="914400">
              <a:lnSpc>
                <a:spcPct val="100000"/>
              </a:lnSpc>
              <a:buNone/>
              <a:tabLst>
                <a:tab algn="l" pos="0"/>
              </a:tabLst>
              <a:defRPr b="0" lang="ru-RU" sz="1000" spc="-1" strike="noStrike">
                <a:solidFill>
                  <a:schemeClr val="lt1"/>
                </a:solidFill>
                <a:latin typeface="YS Text Light"/>
              </a:defRPr>
            </a:lvl1pPr>
          </a:lstStyle>
          <a:p>
            <a:pPr indent="0" algn="r" defTabSz="914400">
              <a:lnSpc>
                <a:spcPct val="100000"/>
              </a:lnSpc>
              <a:buNone/>
              <a:tabLst>
                <a:tab algn="l" pos="0"/>
              </a:tabLst>
            </a:pPr>
            <a:fld id="{86D3C47F-380A-4029-AA38-E839266E92F6}" type="slidenum">
              <a:rPr b="0" lang="ru-RU" sz="1000" spc="-1" strike="noStrike">
                <a:solidFill>
                  <a:schemeClr val="lt1"/>
                </a:solidFill>
                <a:latin typeface="YS Text Light"/>
              </a:rPr>
              <a:t>&lt;номер&gt;</a:t>
            </a:fld>
            <a:endParaRPr b="0" lang="ru-RU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79" r:id="rId6"/>
  </p:sldLayoutIdLst>
</p:sldMaster>
</file>

<file path=ppt/slideMasters/slideMaster17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dk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2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323" name="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324" name="Прямоугольник 15"/>
          <p:cNvSpPr/>
          <p:nvPr/>
        </p:nvSpPr>
        <p:spPr>
          <a:xfrm>
            <a:off x="12422160" y="521028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25" name="Прямоугольник 16"/>
          <p:cNvSpPr/>
          <p:nvPr/>
        </p:nvSpPr>
        <p:spPr>
          <a:xfrm>
            <a:off x="13270680" y="5210280"/>
            <a:ext cx="672480" cy="3157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26" name="Прямоугольник 17"/>
          <p:cNvSpPr/>
          <p:nvPr/>
        </p:nvSpPr>
        <p:spPr>
          <a:xfrm>
            <a:off x="12422160" y="6096600"/>
            <a:ext cx="672480" cy="315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27" name="Прямоугольник 18"/>
          <p:cNvSpPr/>
          <p:nvPr/>
        </p:nvSpPr>
        <p:spPr>
          <a:xfrm>
            <a:off x="12422160" y="6540120"/>
            <a:ext cx="672480" cy="3157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28" name="Прямоугольник 34"/>
          <p:cNvSpPr/>
          <p:nvPr/>
        </p:nvSpPr>
        <p:spPr>
          <a:xfrm>
            <a:off x="12422160" y="565344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29" name="Прямоугольник 35"/>
          <p:cNvSpPr/>
          <p:nvPr/>
        </p:nvSpPr>
        <p:spPr>
          <a:xfrm>
            <a:off x="13270680" y="5653440"/>
            <a:ext cx="672480" cy="31572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30" name="Прямоугольник 36"/>
          <p:cNvSpPr/>
          <p:nvPr/>
        </p:nvSpPr>
        <p:spPr>
          <a:xfrm>
            <a:off x="13265640" y="609660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31" name="Прямоугольник 37"/>
          <p:cNvSpPr/>
          <p:nvPr/>
        </p:nvSpPr>
        <p:spPr>
          <a:xfrm>
            <a:off x="13270680" y="654012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32" name="TextBox 41"/>
          <p:cNvSpPr/>
          <p:nvPr/>
        </p:nvSpPr>
        <p:spPr>
          <a:xfrm>
            <a:off x="12422160" y="4928400"/>
            <a:ext cx="86364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Фон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3" name="TextBox 42"/>
          <p:cNvSpPr/>
          <p:nvPr/>
        </p:nvSpPr>
        <p:spPr>
          <a:xfrm>
            <a:off x="13265640" y="4928400"/>
            <a:ext cx="134460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Выделения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334" name="Прямая соединительная линия 46"/>
          <p:cNvCxnSpPr/>
          <p:nvPr/>
        </p:nvCxnSpPr>
        <p:spPr>
          <a:xfrm>
            <a:off x="12421800" y="559080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335" name="Прямая соединительная линия 47"/>
          <p:cNvCxnSpPr/>
          <p:nvPr/>
        </p:nvCxnSpPr>
        <p:spPr>
          <a:xfrm>
            <a:off x="12421800" y="603396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336" name="Прямая соединительная линия 49"/>
          <p:cNvCxnSpPr/>
          <p:nvPr/>
        </p:nvCxnSpPr>
        <p:spPr>
          <a:xfrm>
            <a:off x="12421800" y="647712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graphicFrame>
        <p:nvGraphicFramePr>
          <p:cNvPr id="337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4" spid="">
              <p:embed/>
              <p:pic>
                <p:nvPicPr>
                  <p:cNvPr id="338" name="" descr=""/>
                  <p:cNvPicPr/>
                  <p:nvPr/>
                </p:nvPicPr>
                <p:blipFill>
                  <a:blip r:embed="rId5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339" name="Скругленный прямоугольник 2"/>
          <p:cNvSpPr/>
          <p:nvPr/>
        </p:nvSpPr>
        <p:spPr>
          <a:xfrm>
            <a:off x="308160" y="1628640"/>
            <a:ext cx="5685840" cy="2273760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40" name="Скругленный прямоугольник 3"/>
          <p:cNvSpPr/>
          <p:nvPr/>
        </p:nvSpPr>
        <p:spPr>
          <a:xfrm>
            <a:off x="6201360" y="1628640"/>
            <a:ext cx="5685840" cy="2273760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41" name="Скругленный прямоугольник 4"/>
          <p:cNvSpPr/>
          <p:nvPr/>
        </p:nvSpPr>
        <p:spPr>
          <a:xfrm>
            <a:off x="6201360" y="4091400"/>
            <a:ext cx="5685840" cy="2273760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42" name="Скругленный прямоугольник 5"/>
          <p:cNvSpPr/>
          <p:nvPr/>
        </p:nvSpPr>
        <p:spPr>
          <a:xfrm>
            <a:off x="308160" y="4091400"/>
            <a:ext cx="5685840" cy="2273760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43" name="Полилиния 7"/>
          <p:cNvSpPr/>
          <p:nvPr/>
        </p:nvSpPr>
        <p:spPr>
          <a:xfrm>
            <a:off x="6201360" y="1628640"/>
            <a:ext cx="1950120" cy="2273760"/>
          </a:xfrm>
          <a:custGeom>
            <a:avLst/>
            <a:gdLst>
              <a:gd name="textAreaLeft" fmla="*/ 0 w 1950120"/>
              <a:gd name="textAreaRight" fmla="*/ 1952280 w 1950120"/>
              <a:gd name="textAreaTop" fmla="*/ 0 h 2273760"/>
              <a:gd name="textAreaBottom" fmla="*/ 2275920 h 2273760"/>
            </a:gdLst>
            <a:ahLst/>
            <a:rect l="textAreaLeft" t="textAreaTop" r="textAreaRight" b="textAreaBottom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44" name="Полилиния 21"/>
          <p:cNvSpPr/>
          <p:nvPr/>
        </p:nvSpPr>
        <p:spPr>
          <a:xfrm>
            <a:off x="308160" y="1628640"/>
            <a:ext cx="1950120" cy="2273760"/>
          </a:xfrm>
          <a:custGeom>
            <a:avLst/>
            <a:gdLst>
              <a:gd name="textAreaLeft" fmla="*/ 0 w 1950120"/>
              <a:gd name="textAreaRight" fmla="*/ 1952280 w 1950120"/>
              <a:gd name="textAreaTop" fmla="*/ 0 h 2273760"/>
              <a:gd name="textAreaBottom" fmla="*/ 2275920 h 2273760"/>
            </a:gdLst>
            <a:ahLst/>
            <a:rect l="textAreaLeft" t="textAreaTop" r="textAreaRight" b="textAreaBottom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45" name="Полилиния 24"/>
          <p:cNvSpPr/>
          <p:nvPr/>
        </p:nvSpPr>
        <p:spPr>
          <a:xfrm>
            <a:off x="6201360" y="4091400"/>
            <a:ext cx="1950120" cy="2273760"/>
          </a:xfrm>
          <a:custGeom>
            <a:avLst/>
            <a:gdLst>
              <a:gd name="textAreaLeft" fmla="*/ 0 w 1950120"/>
              <a:gd name="textAreaRight" fmla="*/ 1952280 w 1950120"/>
              <a:gd name="textAreaTop" fmla="*/ 0 h 2273760"/>
              <a:gd name="textAreaBottom" fmla="*/ 2275920 h 2273760"/>
            </a:gdLst>
            <a:ahLst/>
            <a:rect l="textAreaLeft" t="textAreaTop" r="textAreaRight" b="textAreaBottom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46" name="Полилиния 25"/>
          <p:cNvSpPr/>
          <p:nvPr/>
        </p:nvSpPr>
        <p:spPr>
          <a:xfrm>
            <a:off x="308160" y="4091400"/>
            <a:ext cx="1950120" cy="2273760"/>
          </a:xfrm>
          <a:custGeom>
            <a:avLst/>
            <a:gdLst>
              <a:gd name="textAreaLeft" fmla="*/ 0 w 1950120"/>
              <a:gd name="textAreaRight" fmla="*/ 1952280 w 1950120"/>
              <a:gd name="textAreaTop" fmla="*/ 0 h 2273760"/>
              <a:gd name="textAreaBottom" fmla="*/ 2275920 h 2273760"/>
            </a:gdLst>
            <a:ahLst/>
            <a:rect l="textAreaLeft" t="textAreaTop" r="textAreaRight" b="textAreaBottom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47" name="PlaceHolder 1"/>
          <p:cNvSpPr>
            <a:spLocks noGrp="1"/>
          </p:cNvSpPr>
          <p:nvPr>
            <p:ph type="sldNum" idx="10"/>
          </p:nvPr>
        </p:nvSpPr>
        <p:spPr>
          <a:xfrm>
            <a:off x="11228040" y="6609600"/>
            <a:ext cx="656280" cy="3975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r" defTabSz="914400">
              <a:lnSpc>
                <a:spcPct val="100000"/>
              </a:lnSpc>
              <a:buNone/>
              <a:tabLst>
                <a:tab algn="l" pos="0"/>
              </a:tabLst>
              <a:defRPr b="0" lang="ru-RU" sz="1000" spc="-1" strike="noStrike">
                <a:solidFill>
                  <a:schemeClr val="lt1"/>
                </a:solidFill>
                <a:latin typeface="YS Text Light"/>
              </a:defRPr>
            </a:lvl1pPr>
          </a:lstStyle>
          <a:p>
            <a:pPr indent="0" algn="r" defTabSz="914400">
              <a:lnSpc>
                <a:spcPct val="100000"/>
              </a:lnSpc>
              <a:buNone/>
              <a:tabLst>
                <a:tab algn="l" pos="0"/>
              </a:tabLst>
            </a:pPr>
            <a:fld id="{D240B444-3784-4DA4-9D93-95A16659EC70}" type="slidenum">
              <a:rPr b="0" lang="ru-RU" sz="1000" spc="-1" strike="noStrike">
                <a:solidFill>
                  <a:schemeClr val="lt1"/>
                </a:solidFill>
                <a:latin typeface="YS Text Light"/>
              </a:rPr>
              <a:t>&lt;номер&gt;</a:t>
            </a:fld>
            <a:endParaRPr b="0" lang="ru-RU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81" r:id="rId6"/>
  </p:sldLayoutIdLst>
</p:sldMaster>
</file>

<file path=ppt/slideMasters/slideMaster18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dk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8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349" name="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350" name="Прямоугольник 15"/>
          <p:cNvSpPr/>
          <p:nvPr/>
        </p:nvSpPr>
        <p:spPr>
          <a:xfrm>
            <a:off x="12422160" y="521028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51" name="Прямоугольник 16"/>
          <p:cNvSpPr/>
          <p:nvPr/>
        </p:nvSpPr>
        <p:spPr>
          <a:xfrm>
            <a:off x="13270680" y="5210280"/>
            <a:ext cx="672480" cy="3157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52" name="Прямоугольник 17"/>
          <p:cNvSpPr/>
          <p:nvPr/>
        </p:nvSpPr>
        <p:spPr>
          <a:xfrm>
            <a:off x="12422160" y="6096600"/>
            <a:ext cx="672480" cy="315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53" name="Прямоугольник 18"/>
          <p:cNvSpPr/>
          <p:nvPr/>
        </p:nvSpPr>
        <p:spPr>
          <a:xfrm>
            <a:off x="12422160" y="6540120"/>
            <a:ext cx="672480" cy="3157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54" name="Прямоугольник 34"/>
          <p:cNvSpPr/>
          <p:nvPr/>
        </p:nvSpPr>
        <p:spPr>
          <a:xfrm>
            <a:off x="12422160" y="565344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55" name="Прямоугольник 35"/>
          <p:cNvSpPr/>
          <p:nvPr/>
        </p:nvSpPr>
        <p:spPr>
          <a:xfrm>
            <a:off x="13270680" y="5653440"/>
            <a:ext cx="672480" cy="31572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56" name="Прямоугольник 36"/>
          <p:cNvSpPr/>
          <p:nvPr/>
        </p:nvSpPr>
        <p:spPr>
          <a:xfrm>
            <a:off x="13265640" y="609660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57" name="Прямоугольник 37"/>
          <p:cNvSpPr/>
          <p:nvPr/>
        </p:nvSpPr>
        <p:spPr>
          <a:xfrm>
            <a:off x="13270680" y="654012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58" name="TextBox 41"/>
          <p:cNvSpPr/>
          <p:nvPr/>
        </p:nvSpPr>
        <p:spPr>
          <a:xfrm>
            <a:off x="12422160" y="4928400"/>
            <a:ext cx="86364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Фон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9" name="TextBox 42"/>
          <p:cNvSpPr/>
          <p:nvPr/>
        </p:nvSpPr>
        <p:spPr>
          <a:xfrm>
            <a:off x="13265640" y="4928400"/>
            <a:ext cx="134460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Выделения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360" name="Прямая соединительная линия 46"/>
          <p:cNvCxnSpPr/>
          <p:nvPr/>
        </p:nvCxnSpPr>
        <p:spPr>
          <a:xfrm>
            <a:off x="12421800" y="559080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361" name="Прямая соединительная линия 47"/>
          <p:cNvCxnSpPr/>
          <p:nvPr/>
        </p:nvCxnSpPr>
        <p:spPr>
          <a:xfrm>
            <a:off x="12421800" y="603396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362" name="Прямая соединительная линия 49"/>
          <p:cNvCxnSpPr/>
          <p:nvPr/>
        </p:nvCxnSpPr>
        <p:spPr>
          <a:xfrm>
            <a:off x="12421800" y="647712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graphicFrame>
        <p:nvGraphicFramePr>
          <p:cNvPr id="363" name="think-cell data - do not delete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4" spid="">
              <p:embed/>
              <p:pic>
                <p:nvPicPr>
                  <p:cNvPr id="364" name="think-cell data - do not delete" descr=""/>
                  <p:cNvPicPr/>
                  <p:nvPr/>
                </p:nvPicPr>
                <p:blipFill>
                  <a:blip r:embed="rId5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365" name="Скругленный прямоугольник 1"/>
          <p:cNvSpPr/>
          <p:nvPr/>
        </p:nvSpPr>
        <p:spPr>
          <a:xfrm>
            <a:off x="308160" y="1628640"/>
            <a:ext cx="3732840" cy="2273760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66" name="Скругленный прямоугольник 11"/>
          <p:cNvSpPr/>
          <p:nvPr/>
        </p:nvSpPr>
        <p:spPr>
          <a:xfrm>
            <a:off x="4232520" y="1628640"/>
            <a:ext cx="3732840" cy="2273760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67" name="Скругленный прямоугольник 13"/>
          <p:cNvSpPr/>
          <p:nvPr/>
        </p:nvSpPr>
        <p:spPr>
          <a:xfrm>
            <a:off x="8156880" y="1628640"/>
            <a:ext cx="3732840" cy="2273760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68" name="Скругленный прямоугольник 15"/>
          <p:cNvSpPr/>
          <p:nvPr/>
        </p:nvSpPr>
        <p:spPr>
          <a:xfrm>
            <a:off x="4232520" y="4091400"/>
            <a:ext cx="3732840" cy="2273760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69" name="Скругленный прямоугольник 17"/>
          <p:cNvSpPr/>
          <p:nvPr/>
        </p:nvSpPr>
        <p:spPr>
          <a:xfrm>
            <a:off x="308160" y="4091400"/>
            <a:ext cx="3732840" cy="2273760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70" name="Скругленный прямоугольник 18"/>
          <p:cNvSpPr/>
          <p:nvPr/>
        </p:nvSpPr>
        <p:spPr>
          <a:xfrm>
            <a:off x="8156880" y="4091400"/>
            <a:ext cx="3732840" cy="2273760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71" name="Полилиния 30"/>
          <p:cNvSpPr/>
          <p:nvPr/>
        </p:nvSpPr>
        <p:spPr>
          <a:xfrm>
            <a:off x="4232520" y="1628640"/>
            <a:ext cx="1726920" cy="2273760"/>
          </a:xfrm>
          <a:custGeom>
            <a:avLst/>
            <a:gdLst>
              <a:gd name="textAreaLeft" fmla="*/ 0 w 1726920"/>
              <a:gd name="textAreaRight" fmla="*/ 1729080 w 1726920"/>
              <a:gd name="textAreaTop" fmla="*/ 0 h 2273760"/>
              <a:gd name="textAreaBottom" fmla="*/ 2275920 h 2273760"/>
            </a:gdLst>
            <a:ahLst/>
            <a:rect l="textAreaLeft" t="textAreaTop" r="textAreaRight" b="textAreaBottom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72" name="Полилиния 31"/>
          <p:cNvSpPr/>
          <p:nvPr/>
        </p:nvSpPr>
        <p:spPr>
          <a:xfrm>
            <a:off x="8156880" y="1628640"/>
            <a:ext cx="1726920" cy="2273760"/>
          </a:xfrm>
          <a:custGeom>
            <a:avLst/>
            <a:gdLst>
              <a:gd name="textAreaLeft" fmla="*/ 0 w 1726920"/>
              <a:gd name="textAreaRight" fmla="*/ 1729080 w 1726920"/>
              <a:gd name="textAreaTop" fmla="*/ 0 h 2273760"/>
              <a:gd name="textAreaBottom" fmla="*/ 2275920 h 2273760"/>
            </a:gdLst>
            <a:ahLst/>
            <a:rect l="textAreaLeft" t="textAreaTop" r="textAreaRight" b="textAreaBottom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73" name="Полилиния 44"/>
          <p:cNvSpPr/>
          <p:nvPr/>
        </p:nvSpPr>
        <p:spPr>
          <a:xfrm>
            <a:off x="308160" y="1628640"/>
            <a:ext cx="1726920" cy="2273760"/>
          </a:xfrm>
          <a:custGeom>
            <a:avLst/>
            <a:gdLst>
              <a:gd name="textAreaLeft" fmla="*/ 0 w 1726920"/>
              <a:gd name="textAreaRight" fmla="*/ 1729080 w 1726920"/>
              <a:gd name="textAreaTop" fmla="*/ 0 h 2273760"/>
              <a:gd name="textAreaBottom" fmla="*/ 2275920 h 2273760"/>
            </a:gdLst>
            <a:ahLst/>
            <a:rect l="textAreaLeft" t="textAreaTop" r="textAreaRight" b="textAreaBottom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74" name="Полилиния 48"/>
          <p:cNvSpPr/>
          <p:nvPr/>
        </p:nvSpPr>
        <p:spPr>
          <a:xfrm>
            <a:off x="4232520" y="4091400"/>
            <a:ext cx="1726920" cy="2273760"/>
          </a:xfrm>
          <a:custGeom>
            <a:avLst/>
            <a:gdLst>
              <a:gd name="textAreaLeft" fmla="*/ 0 w 1726920"/>
              <a:gd name="textAreaRight" fmla="*/ 1729080 w 1726920"/>
              <a:gd name="textAreaTop" fmla="*/ 0 h 2273760"/>
              <a:gd name="textAreaBottom" fmla="*/ 2275920 h 2273760"/>
            </a:gdLst>
            <a:ahLst/>
            <a:rect l="textAreaLeft" t="textAreaTop" r="textAreaRight" b="textAreaBottom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75" name="Полилиния 49"/>
          <p:cNvSpPr/>
          <p:nvPr/>
        </p:nvSpPr>
        <p:spPr>
          <a:xfrm>
            <a:off x="8156880" y="4091400"/>
            <a:ext cx="1726920" cy="2273760"/>
          </a:xfrm>
          <a:custGeom>
            <a:avLst/>
            <a:gdLst>
              <a:gd name="textAreaLeft" fmla="*/ 0 w 1726920"/>
              <a:gd name="textAreaRight" fmla="*/ 1729080 w 1726920"/>
              <a:gd name="textAreaTop" fmla="*/ 0 h 2273760"/>
              <a:gd name="textAreaBottom" fmla="*/ 2275920 h 2273760"/>
            </a:gdLst>
            <a:ahLst/>
            <a:rect l="textAreaLeft" t="textAreaTop" r="textAreaRight" b="textAreaBottom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solidFill>
            <a:srgbClr val="799d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76" name="Полилиния 50"/>
          <p:cNvSpPr/>
          <p:nvPr/>
        </p:nvSpPr>
        <p:spPr>
          <a:xfrm>
            <a:off x="308160" y="4091400"/>
            <a:ext cx="1726920" cy="2273760"/>
          </a:xfrm>
          <a:custGeom>
            <a:avLst/>
            <a:gdLst>
              <a:gd name="textAreaLeft" fmla="*/ 0 w 1726920"/>
              <a:gd name="textAreaRight" fmla="*/ 1729080 w 1726920"/>
              <a:gd name="textAreaTop" fmla="*/ 0 h 2273760"/>
              <a:gd name="textAreaBottom" fmla="*/ 2275920 h 2273760"/>
            </a:gdLst>
            <a:ahLst/>
            <a:rect l="textAreaLeft" t="textAreaTop" r="textAreaRight" b="textAreaBottom"/>
            <a:pathLst>
              <a:path w="1729095" h="2275964">
                <a:moveTo>
                  <a:pt x="99938" y="0"/>
                </a:moveTo>
                <a:lnTo>
                  <a:pt x="1729095" y="0"/>
                </a:lnTo>
                <a:lnTo>
                  <a:pt x="1729095" y="2275964"/>
                </a:lnTo>
                <a:lnTo>
                  <a:pt x="99938" y="2275964"/>
                </a:lnTo>
                <a:cubicBezTo>
                  <a:pt x="44744" y="2275964"/>
                  <a:pt x="0" y="2231220"/>
                  <a:pt x="0" y="2176026"/>
                </a:cubicBezTo>
                <a:lnTo>
                  <a:pt x="0" y="99938"/>
                </a:lnTo>
                <a:cubicBezTo>
                  <a:pt x="0" y="44744"/>
                  <a:pt x="44744" y="0"/>
                  <a:pt x="99938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77" name="PlaceHolder 1"/>
          <p:cNvSpPr>
            <a:spLocks noGrp="1"/>
          </p:cNvSpPr>
          <p:nvPr>
            <p:ph type="sldNum" idx="11"/>
          </p:nvPr>
        </p:nvSpPr>
        <p:spPr>
          <a:xfrm>
            <a:off x="11228040" y="6609600"/>
            <a:ext cx="656280" cy="3975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r" defTabSz="914400">
              <a:lnSpc>
                <a:spcPct val="100000"/>
              </a:lnSpc>
              <a:buNone/>
              <a:tabLst>
                <a:tab algn="l" pos="0"/>
              </a:tabLst>
              <a:defRPr b="0" lang="ru-RU" sz="1000" spc="-1" strike="noStrike">
                <a:solidFill>
                  <a:schemeClr val="lt1"/>
                </a:solidFill>
                <a:latin typeface="YS Text Light"/>
              </a:defRPr>
            </a:lvl1pPr>
          </a:lstStyle>
          <a:p>
            <a:pPr indent="0" algn="r" defTabSz="914400">
              <a:lnSpc>
                <a:spcPct val="100000"/>
              </a:lnSpc>
              <a:buNone/>
              <a:tabLst>
                <a:tab algn="l" pos="0"/>
              </a:tabLst>
            </a:pPr>
            <a:fld id="{9A8A0956-2450-4C74-B621-8EB747DBC385}" type="slidenum">
              <a:rPr b="0" lang="ru-RU" sz="1000" spc="-1" strike="noStrike">
                <a:solidFill>
                  <a:schemeClr val="lt1"/>
                </a:solidFill>
                <a:latin typeface="YS Text Light"/>
              </a:rPr>
              <a:t>&lt;номер&gt;</a:t>
            </a:fld>
            <a:endParaRPr b="0" lang="ru-RU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83" r:id="rId6"/>
  </p:sldLayoutIdLst>
</p:sldMaster>
</file>

<file path=ppt/slideMasters/slideMaster19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dk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8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379" name="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380" name="Прямоугольник 15"/>
          <p:cNvSpPr/>
          <p:nvPr/>
        </p:nvSpPr>
        <p:spPr>
          <a:xfrm>
            <a:off x="12422160" y="521028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81" name="Прямоугольник 16"/>
          <p:cNvSpPr/>
          <p:nvPr/>
        </p:nvSpPr>
        <p:spPr>
          <a:xfrm>
            <a:off x="13270680" y="5210280"/>
            <a:ext cx="672480" cy="3157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82" name="Прямоугольник 17"/>
          <p:cNvSpPr/>
          <p:nvPr/>
        </p:nvSpPr>
        <p:spPr>
          <a:xfrm>
            <a:off x="12422160" y="6096600"/>
            <a:ext cx="672480" cy="315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83" name="Прямоугольник 18"/>
          <p:cNvSpPr/>
          <p:nvPr/>
        </p:nvSpPr>
        <p:spPr>
          <a:xfrm>
            <a:off x="12422160" y="6540120"/>
            <a:ext cx="672480" cy="3157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84" name="Прямоугольник 34"/>
          <p:cNvSpPr/>
          <p:nvPr/>
        </p:nvSpPr>
        <p:spPr>
          <a:xfrm>
            <a:off x="12422160" y="565344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85" name="Прямоугольник 35"/>
          <p:cNvSpPr/>
          <p:nvPr/>
        </p:nvSpPr>
        <p:spPr>
          <a:xfrm>
            <a:off x="13270680" y="5653440"/>
            <a:ext cx="672480" cy="31572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86" name="Прямоугольник 36"/>
          <p:cNvSpPr/>
          <p:nvPr/>
        </p:nvSpPr>
        <p:spPr>
          <a:xfrm>
            <a:off x="13265640" y="609660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87" name="Прямоугольник 37"/>
          <p:cNvSpPr/>
          <p:nvPr/>
        </p:nvSpPr>
        <p:spPr>
          <a:xfrm>
            <a:off x="13270680" y="654012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88" name="TextBox 41"/>
          <p:cNvSpPr/>
          <p:nvPr/>
        </p:nvSpPr>
        <p:spPr>
          <a:xfrm>
            <a:off x="12422160" y="4928400"/>
            <a:ext cx="86364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Фон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9" name="TextBox 42"/>
          <p:cNvSpPr/>
          <p:nvPr/>
        </p:nvSpPr>
        <p:spPr>
          <a:xfrm>
            <a:off x="13265640" y="4928400"/>
            <a:ext cx="134460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Выделения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390" name="Прямая соединительная линия 46"/>
          <p:cNvCxnSpPr/>
          <p:nvPr/>
        </p:nvCxnSpPr>
        <p:spPr>
          <a:xfrm>
            <a:off x="12421800" y="559080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391" name="Прямая соединительная линия 47"/>
          <p:cNvCxnSpPr/>
          <p:nvPr/>
        </p:nvCxnSpPr>
        <p:spPr>
          <a:xfrm>
            <a:off x="12421800" y="603396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392" name="Прямая соединительная линия 49"/>
          <p:cNvCxnSpPr/>
          <p:nvPr/>
        </p:nvCxnSpPr>
        <p:spPr>
          <a:xfrm>
            <a:off x="12421800" y="647712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graphicFrame>
        <p:nvGraphicFramePr>
          <p:cNvPr id="393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4" spid="">
              <p:embed/>
              <p:pic>
                <p:nvPicPr>
                  <p:cNvPr id="394" name="" descr=""/>
                  <p:cNvPicPr/>
                  <p:nvPr/>
                </p:nvPicPr>
                <p:blipFill>
                  <a:blip r:embed="rId5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395" name="Скругленный прямоугольник 1"/>
          <p:cNvSpPr/>
          <p:nvPr/>
        </p:nvSpPr>
        <p:spPr>
          <a:xfrm>
            <a:off x="308160" y="1628640"/>
            <a:ext cx="3676680" cy="4930200"/>
          </a:xfrm>
          <a:prstGeom prst="roundRect">
            <a:avLst>
              <a:gd name="adj" fmla="val 0"/>
            </a:avLst>
          </a:prstGeom>
          <a:solidFill>
            <a:srgbClr val="dad06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96" name="Скругленный прямоугольник 2"/>
          <p:cNvSpPr/>
          <p:nvPr/>
        </p:nvSpPr>
        <p:spPr>
          <a:xfrm>
            <a:off x="4257720" y="1628640"/>
            <a:ext cx="7632000" cy="4930200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97" name="PlaceHolder 1"/>
          <p:cNvSpPr>
            <a:spLocks noGrp="1"/>
          </p:cNvSpPr>
          <p:nvPr>
            <p:ph type="sldNum" idx="12"/>
          </p:nvPr>
        </p:nvSpPr>
        <p:spPr>
          <a:xfrm>
            <a:off x="11228040" y="6609600"/>
            <a:ext cx="656280" cy="3975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r" defTabSz="914400">
              <a:lnSpc>
                <a:spcPct val="100000"/>
              </a:lnSpc>
              <a:buNone/>
              <a:tabLst>
                <a:tab algn="l" pos="0"/>
              </a:tabLst>
              <a:defRPr b="0" lang="ru-RU" sz="1000" spc="-1" strike="noStrike">
                <a:solidFill>
                  <a:schemeClr val="lt1"/>
                </a:solidFill>
                <a:latin typeface="YS Text Light"/>
              </a:defRPr>
            </a:lvl1pPr>
          </a:lstStyle>
          <a:p>
            <a:pPr indent="0" algn="r" defTabSz="914400">
              <a:lnSpc>
                <a:spcPct val="100000"/>
              </a:lnSpc>
              <a:buNone/>
              <a:tabLst>
                <a:tab algn="l" pos="0"/>
              </a:tabLst>
            </a:pPr>
            <a:fld id="{AEE3A95A-CA78-430C-8790-73D3136AEA32}" type="slidenum">
              <a:rPr b="0" lang="ru-RU" sz="1000" spc="-1" strike="noStrike">
                <a:solidFill>
                  <a:schemeClr val="lt1"/>
                </a:solidFill>
                <a:latin typeface="YS Text Light"/>
              </a:rPr>
              <a:t>&lt;номер&gt;</a:t>
            </a:fld>
            <a:endParaRPr b="0" lang="ru-RU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398" name="PlaceHolder 2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9" name="PlaceHolder 3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</a:t>
            </a: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структуры </a:t>
            </a: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щёлкните </a:t>
            </a: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</a:t>
            </a: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</a:t>
            </a: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уровень </a:t>
            </a: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</a:t>
            </a: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уровень </a:t>
            </a: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</a:t>
            </a: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уровень </a:t>
            </a: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</a:t>
            </a: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й </a:t>
            </a: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уровен</a:t>
            </a: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ь </a:t>
            </a: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трукт</a:t>
            </a: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</a:t>
            </a: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дь</a:t>
            </a: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мо</a:t>
            </a: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й </a:t>
            </a: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уро</a:t>
            </a: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вен</a:t>
            </a: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ь </a:t>
            </a: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тр</a:t>
            </a: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укт</a:t>
            </a: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ур</a:t>
            </a: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85" r:id="rId6"/>
  </p:sldLayoutIdLst>
</p:sldMaster>
</file>

<file path=ppt/slideMasters/slideMaster2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dk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22" name="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3" name="Прямоугольник 15"/>
          <p:cNvSpPr/>
          <p:nvPr/>
        </p:nvSpPr>
        <p:spPr>
          <a:xfrm>
            <a:off x="12422160" y="521028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4" name="Прямоугольник 16"/>
          <p:cNvSpPr/>
          <p:nvPr/>
        </p:nvSpPr>
        <p:spPr>
          <a:xfrm>
            <a:off x="13270680" y="5210280"/>
            <a:ext cx="672480" cy="3157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5" name="Прямоугольник 17"/>
          <p:cNvSpPr/>
          <p:nvPr/>
        </p:nvSpPr>
        <p:spPr>
          <a:xfrm>
            <a:off x="12422160" y="6096600"/>
            <a:ext cx="672480" cy="315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6" name="Прямоугольник 18"/>
          <p:cNvSpPr/>
          <p:nvPr/>
        </p:nvSpPr>
        <p:spPr>
          <a:xfrm>
            <a:off x="12422160" y="6540120"/>
            <a:ext cx="672480" cy="3157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7" name="Прямоугольник 34"/>
          <p:cNvSpPr/>
          <p:nvPr/>
        </p:nvSpPr>
        <p:spPr>
          <a:xfrm>
            <a:off x="12422160" y="565344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8" name="Прямоугольник 35"/>
          <p:cNvSpPr/>
          <p:nvPr/>
        </p:nvSpPr>
        <p:spPr>
          <a:xfrm>
            <a:off x="13270680" y="5653440"/>
            <a:ext cx="672480" cy="31572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29" name="Прямоугольник 36"/>
          <p:cNvSpPr/>
          <p:nvPr/>
        </p:nvSpPr>
        <p:spPr>
          <a:xfrm>
            <a:off x="13265640" y="609660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0" name="Прямоугольник 37"/>
          <p:cNvSpPr/>
          <p:nvPr/>
        </p:nvSpPr>
        <p:spPr>
          <a:xfrm>
            <a:off x="13270680" y="654012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31" name="TextBox 41"/>
          <p:cNvSpPr/>
          <p:nvPr/>
        </p:nvSpPr>
        <p:spPr>
          <a:xfrm>
            <a:off x="12422160" y="4928400"/>
            <a:ext cx="86364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Фон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TextBox 42"/>
          <p:cNvSpPr/>
          <p:nvPr/>
        </p:nvSpPr>
        <p:spPr>
          <a:xfrm>
            <a:off x="13265640" y="4928400"/>
            <a:ext cx="134460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Выделения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33" name="Прямая соединительная линия 46"/>
          <p:cNvCxnSpPr/>
          <p:nvPr/>
        </p:nvCxnSpPr>
        <p:spPr>
          <a:xfrm>
            <a:off x="12421800" y="559080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34" name="Прямая соединительная линия 47"/>
          <p:cNvCxnSpPr/>
          <p:nvPr/>
        </p:nvCxnSpPr>
        <p:spPr>
          <a:xfrm>
            <a:off x="12421800" y="603396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35" name="Прямая соединительная линия 49"/>
          <p:cNvCxnSpPr/>
          <p:nvPr/>
        </p:nvCxnSpPr>
        <p:spPr>
          <a:xfrm>
            <a:off x="12421800" y="647712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graphicFrame>
        <p:nvGraphicFramePr>
          <p:cNvPr id="36" name="think-cell data - do not delete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4" spid="">
              <p:embed/>
              <p:pic>
                <p:nvPicPr>
                  <p:cNvPr id="37" name="think-cell data - do not delete" descr=""/>
                  <p:cNvPicPr/>
                  <p:nvPr/>
                </p:nvPicPr>
                <p:blipFill>
                  <a:blip r:embed="rId5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cxnSp>
        <p:nvCxnSpPr>
          <p:cNvPr id="38" name="Прямая соединительная линия 22"/>
          <p:cNvCxnSpPr/>
          <p:nvPr/>
        </p:nvCxnSpPr>
        <p:spPr>
          <a:xfrm>
            <a:off x="307800" y="2118600"/>
            <a:ext cx="56948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39" name="Прямая соединительная линия 23"/>
          <p:cNvCxnSpPr/>
          <p:nvPr/>
        </p:nvCxnSpPr>
        <p:spPr>
          <a:xfrm>
            <a:off x="6099120" y="2259360"/>
            <a:ext cx="2160" cy="430380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40" name="Прямая соединительная линия 25"/>
          <p:cNvCxnSpPr/>
          <p:nvPr/>
        </p:nvCxnSpPr>
        <p:spPr>
          <a:xfrm>
            <a:off x="6237720" y="2118600"/>
            <a:ext cx="565092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sp>
        <p:nvSpPr>
          <p:cNvPr id="41" name="PlaceHolder 1"/>
          <p:cNvSpPr>
            <a:spLocks noGrp="1"/>
          </p:cNvSpPr>
          <p:nvPr>
            <p:ph type="sldNum" idx="1"/>
          </p:nvPr>
        </p:nvSpPr>
        <p:spPr>
          <a:xfrm>
            <a:off x="11228040" y="6609600"/>
            <a:ext cx="656280" cy="3975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r" defTabSz="914400">
              <a:lnSpc>
                <a:spcPct val="100000"/>
              </a:lnSpc>
              <a:buNone/>
              <a:tabLst>
                <a:tab algn="l" pos="0"/>
              </a:tabLst>
              <a:defRPr b="0" lang="ru-RU" sz="1000" spc="-1" strike="noStrike">
                <a:solidFill>
                  <a:schemeClr val="lt1"/>
                </a:solidFill>
                <a:latin typeface="YS Text Light"/>
              </a:defRPr>
            </a:lvl1pPr>
          </a:lstStyle>
          <a:p>
            <a:pPr indent="0" algn="r" defTabSz="914400">
              <a:lnSpc>
                <a:spcPct val="100000"/>
              </a:lnSpc>
              <a:buNone/>
              <a:tabLst>
                <a:tab algn="l" pos="0"/>
              </a:tabLst>
            </a:pPr>
            <a:fld id="{1DC909E3-278B-4291-A476-63F4F9FD396F}" type="slidenum">
              <a:rPr b="0" lang="ru-RU" sz="1000" spc="-1" strike="noStrike">
                <a:solidFill>
                  <a:schemeClr val="lt1"/>
                </a:solidFill>
                <a:latin typeface="YS Text Light"/>
              </a:rPr>
              <a:t>&lt;номер&gt;</a:t>
            </a:fld>
            <a:endParaRPr b="0" lang="ru-RU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2" name="PlaceHolder 2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PlaceHolder 3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51" r:id="rId6"/>
  </p:sldLayoutIdLst>
</p:sldMaster>
</file>

<file path=ppt/slideMasters/slideMaster3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dk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45" name="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46" name="Прямоугольник 15"/>
          <p:cNvSpPr/>
          <p:nvPr/>
        </p:nvSpPr>
        <p:spPr>
          <a:xfrm>
            <a:off x="12422160" y="521028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47" name="Прямоугольник 16"/>
          <p:cNvSpPr/>
          <p:nvPr/>
        </p:nvSpPr>
        <p:spPr>
          <a:xfrm>
            <a:off x="13270680" y="5210280"/>
            <a:ext cx="672480" cy="3157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48" name="Прямоугольник 17"/>
          <p:cNvSpPr/>
          <p:nvPr/>
        </p:nvSpPr>
        <p:spPr>
          <a:xfrm>
            <a:off x="12422160" y="6096600"/>
            <a:ext cx="672480" cy="315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49" name="Прямоугольник 18"/>
          <p:cNvSpPr/>
          <p:nvPr/>
        </p:nvSpPr>
        <p:spPr>
          <a:xfrm>
            <a:off x="12422160" y="6540120"/>
            <a:ext cx="672480" cy="3157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50" name="Прямоугольник 34"/>
          <p:cNvSpPr/>
          <p:nvPr/>
        </p:nvSpPr>
        <p:spPr>
          <a:xfrm>
            <a:off x="12422160" y="565344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51" name="Прямоугольник 35"/>
          <p:cNvSpPr/>
          <p:nvPr/>
        </p:nvSpPr>
        <p:spPr>
          <a:xfrm>
            <a:off x="13270680" y="5653440"/>
            <a:ext cx="672480" cy="31572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52" name="Прямоугольник 36"/>
          <p:cNvSpPr/>
          <p:nvPr/>
        </p:nvSpPr>
        <p:spPr>
          <a:xfrm>
            <a:off x="13265640" y="609660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53" name="Прямоугольник 37"/>
          <p:cNvSpPr/>
          <p:nvPr/>
        </p:nvSpPr>
        <p:spPr>
          <a:xfrm>
            <a:off x="13270680" y="654012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54" name="TextBox 41"/>
          <p:cNvSpPr/>
          <p:nvPr/>
        </p:nvSpPr>
        <p:spPr>
          <a:xfrm>
            <a:off x="12422160" y="4928400"/>
            <a:ext cx="86364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Фон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TextBox 42"/>
          <p:cNvSpPr/>
          <p:nvPr/>
        </p:nvSpPr>
        <p:spPr>
          <a:xfrm>
            <a:off x="13265640" y="4928400"/>
            <a:ext cx="134460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Выделения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56" name="Прямая соединительная линия 46"/>
          <p:cNvCxnSpPr/>
          <p:nvPr/>
        </p:nvCxnSpPr>
        <p:spPr>
          <a:xfrm>
            <a:off x="12421800" y="559080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57" name="Прямая соединительная линия 47"/>
          <p:cNvCxnSpPr/>
          <p:nvPr/>
        </p:nvCxnSpPr>
        <p:spPr>
          <a:xfrm>
            <a:off x="12421800" y="603396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58" name="Прямая соединительная линия 49"/>
          <p:cNvCxnSpPr/>
          <p:nvPr/>
        </p:nvCxnSpPr>
        <p:spPr>
          <a:xfrm>
            <a:off x="12421800" y="647712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graphicFrame>
        <p:nvGraphicFramePr>
          <p:cNvPr id="59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4" spid="">
              <p:embed/>
              <p:pic>
                <p:nvPicPr>
                  <p:cNvPr id="60" name="" descr=""/>
                  <p:cNvPicPr/>
                  <p:nvPr/>
                </p:nvPicPr>
                <p:blipFill>
                  <a:blip r:embed="rId5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grpSp>
        <p:nvGrpSpPr>
          <p:cNvPr id="61" name="Группа 21"/>
          <p:cNvGrpSpPr/>
          <p:nvPr/>
        </p:nvGrpSpPr>
        <p:grpSpPr>
          <a:xfrm>
            <a:off x="307800" y="2118600"/>
            <a:ext cx="11573280" cy="4444200"/>
            <a:chOff x="307800" y="2118600"/>
            <a:chExt cx="11573280" cy="4444200"/>
          </a:xfrm>
        </p:grpSpPr>
        <p:cxnSp>
          <p:nvCxnSpPr>
            <p:cNvPr id="62" name="Прямая соединительная линия 22"/>
            <p:cNvCxnSpPr/>
            <p:nvPr/>
          </p:nvCxnSpPr>
          <p:spPr>
            <a:xfrm>
              <a:off x="307800" y="2118600"/>
              <a:ext cx="3674520" cy="2160"/>
            </a:xfrm>
            <a:prstGeom prst="straightConnector1">
              <a:avLst/>
            </a:prstGeom>
            <a:ln w="0">
              <a:solidFill>
                <a:srgbClr val="313131"/>
              </a:solidFill>
            </a:ln>
          </p:spPr>
        </p:cxnSp>
        <p:cxnSp>
          <p:nvCxnSpPr>
            <p:cNvPr id="63" name="Прямая соединительная линия 23"/>
            <p:cNvCxnSpPr/>
            <p:nvPr/>
          </p:nvCxnSpPr>
          <p:spPr>
            <a:xfrm>
              <a:off x="4118760" y="2259360"/>
              <a:ext cx="2160" cy="4303800"/>
            </a:xfrm>
            <a:prstGeom prst="straightConnector1">
              <a:avLst/>
            </a:prstGeom>
            <a:ln w="0">
              <a:solidFill>
                <a:srgbClr val="313131"/>
              </a:solidFill>
            </a:ln>
          </p:spPr>
        </p:cxnSp>
        <p:cxnSp>
          <p:nvCxnSpPr>
            <p:cNvPr id="64" name="Прямая соединительная линия 25"/>
            <p:cNvCxnSpPr/>
            <p:nvPr/>
          </p:nvCxnSpPr>
          <p:spPr>
            <a:xfrm>
              <a:off x="4257360" y="2118600"/>
              <a:ext cx="3674520" cy="2160"/>
            </a:xfrm>
            <a:prstGeom prst="straightConnector1">
              <a:avLst/>
            </a:prstGeom>
            <a:ln w="0">
              <a:solidFill>
                <a:srgbClr val="313131"/>
              </a:solidFill>
            </a:ln>
          </p:spPr>
        </p:cxnSp>
        <p:cxnSp>
          <p:nvCxnSpPr>
            <p:cNvPr id="65" name="Прямая соединительная линия 26"/>
            <p:cNvCxnSpPr/>
            <p:nvPr/>
          </p:nvCxnSpPr>
          <p:spPr>
            <a:xfrm>
              <a:off x="8206920" y="2118600"/>
              <a:ext cx="3674520" cy="2160"/>
            </a:xfrm>
            <a:prstGeom prst="straightConnector1">
              <a:avLst/>
            </a:prstGeom>
            <a:ln w="0">
              <a:solidFill>
                <a:srgbClr val="313131"/>
              </a:solidFill>
            </a:ln>
          </p:spPr>
        </p:cxnSp>
        <p:cxnSp>
          <p:nvCxnSpPr>
            <p:cNvPr id="66" name="Прямая соединительная линия 27"/>
            <p:cNvCxnSpPr/>
            <p:nvPr/>
          </p:nvCxnSpPr>
          <p:spPr>
            <a:xfrm>
              <a:off x="8068320" y="2259360"/>
              <a:ext cx="2160" cy="4303800"/>
            </a:xfrm>
            <a:prstGeom prst="straightConnector1">
              <a:avLst/>
            </a:prstGeom>
            <a:ln w="0">
              <a:solidFill>
                <a:srgbClr val="313131"/>
              </a:solidFill>
            </a:ln>
          </p:spPr>
        </p:cxnSp>
      </p:grpSp>
      <p:sp>
        <p:nvSpPr>
          <p:cNvPr id="67" name="PlaceHolder 1"/>
          <p:cNvSpPr>
            <a:spLocks noGrp="1"/>
          </p:cNvSpPr>
          <p:nvPr>
            <p:ph type="sldNum" idx="2"/>
          </p:nvPr>
        </p:nvSpPr>
        <p:spPr>
          <a:xfrm>
            <a:off x="11228040" y="6609600"/>
            <a:ext cx="656280" cy="3975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r" defTabSz="914400">
              <a:lnSpc>
                <a:spcPct val="100000"/>
              </a:lnSpc>
              <a:buNone/>
              <a:tabLst>
                <a:tab algn="l" pos="0"/>
              </a:tabLst>
              <a:defRPr b="0" lang="ru-RU" sz="1000" spc="-1" strike="noStrike">
                <a:solidFill>
                  <a:schemeClr val="lt1"/>
                </a:solidFill>
                <a:latin typeface="YS Text Light"/>
              </a:defRPr>
            </a:lvl1pPr>
          </a:lstStyle>
          <a:p>
            <a:pPr indent="0" algn="r" defTabSz="914400">
              <a:lnSpc>
                <a:spcPct val="100000"/>
              </a:lnSpc>
              <a:buNone/>
              <a:tabLst>
                <a:tab algn="l" pos="0"/>
              </a:tabLst>
            </a:pPr>
            <a:fld id="{73B6E5EC-2E5C-43D2-BCC7-953F11192693}" type="slidenum">
              <a:rPr b="0" lang="ru-RU" sz="1000" spc="-1" strike="noStrike">
                <a:solidFill>
                  <a:schemeClr val="lt1"/>
                </a:solidFill>
                <a:latin typeface="YS Text Light"/>
              </a:rPr>
              <a:t>&lt;номер&gt;</a:t>
            </a:fld>
            <a:endParaRPr b="0" lang="ru-RU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53" r:id="rId6"/>
  </p:sldLayoutIdLst>
</p:sldMaster>
</file>

<file path=ppt/slideMasters/slideMaster4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dk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69" name="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70" name="Прямоугольник 15"/>
          <p:cNvSpPr/>
          <p:nvPr/>
        </p:nvSpPr>
        <p:spPr>
          <a:xfrm>
            <a:off x="12422160" y="521028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71" name="Прямоугольник 16"/>
          <p:cNvSpPr/>
          <p:nvPr/>
        </p:nvSpPr>
        <p:spPr>
          <a:xfrm>
            <a:off x="13270680" y="5210280"/>
            <a:ext cx="672480" cy="3157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72" name="Прямоугольник 17"/>
          <p:cNvSpPr/>
          <p:nvPr/>
        </p:nvSpPr>
        <p:spPr>
          <a:xfrm>
            <a:off x="12422160" y="6096600"/>
            <a:ext cx="672480" cy="315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73" name="Прямоугольник 18"/>
          <p:cNvSpPr/>
          <p:nvPr/>
        </p:nvSpPr>
        <p:spPr>
          <a:xfrm>
            <a:off x="12422160" y="6540120"/>
            <a:ext cx="672480" cy="3157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74" name="Прямоугольник 34"/>
          <p:cNvSpPr/>
          <p:nvPr/>
        </p:nvSpPr>
        <p:spPr>
          <a:xfrm>
            <a:off x="12422160" y="565344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75" name="Прямоугольник 35"/>
          <p:cNvSpPr/>
          <p:nvPr/>
        </p:nvSpPr>
        <p:spPr>
          <a:xfrm>
            <a:off x="13270680" y="5653440"/>
            <a:ext cx="672480" cy="31572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76" name="Прямоугольник 36"/>
          <p:cNvSpPr/>
          <p:nvPr/>
        </p:nvSpPr>
        <p:spPr>
          <a:xfrm>
            <a:off x="13265640" y="609660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77" name="Прямоугольник 37"/>
          <p:cNvSpPr/>
          <p:nvPr/>
        </p:nvSpPr>
        <p:spPr>
          <a:xfrm>
            <a:off x="13270680" y="654012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78" name="TextBox 41"/>
          <p:cNvSpPr/>
          <p:nvPr/>
        </p:nvSpPr>
        <p:spPr>
          <a:xfrm>
            <a:off x="12422160" y="4928400"/>
            <a:ext cx="86364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Фон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TextBox 42"/>
          <p:cNvSpPr/>
          <p:nvPr/>
        </p:nvSpPr>
        <p:spPr>
          <a:xfrm>
            <a:off x="13265640" y="4928400"/>
            <a:ext cx="134460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Выделения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80" name="Прямая соединительная линия 46"/>
          <p:cNvCxnSpPr/>
          <p:nvPr/>
        </p:nvCxnSpPr>
        <p:spPr>
          <a:xfrm>
            <a:off x="12421800" y="559080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81" name="Прямая соединительная линия 47"/>
          <p:cNvCxnSpPr/>
          <p:nvPr/>
        </p:nvCxnSpPr>
        <p:spPr>
          <a:xfrm>
            <a:off x="12421800" y="603396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82" name="Прямая соединительная линия 49"/>
          <p:cNvCxnSpPr/>
          <p:nvPr/>
        </p:nvCxnSpPr>
        <p:spPr>
          <a:xfrm>
            <a:off x="12421800" y="647712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graphicFrame>
        <p:nvGraphicFramePr>
          <p:cNvPr id="83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4" spid="">
              <p:embed/>
              <p:pic>
                <p:nvPicPr>
                  <p:cNvPr id="84" name="" descr=""/>
                  <p:cNvPicPr/>
                  <p:nvPr/>
                </p:nvPicPr>
                <p:blipFill>
                  <a:blip r:embed="rId5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cxnSp>
        <p:nvCxnSpPr>
          <p:cNvPr id="85" name="Прямая соединительная линия 22"/>
          <p:cNvCxnSpPr/>
          <p:nvPr/>
        </p:nvCxnSpPr>
        <p:spPr>
          <a:xfrm>
            <a:off x="307800" y="1643760"/>
            <a:ext cx="367452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86" name="Прямая соединительная линия 23"/>
          <p:cNvCxnSpPr/>
          <p:nvPr/>
        </p:nvCxnSpPr>
        <p:spPr>
          <a:xfrm>
            <a:off x="4118760" y="1714320"/>
            <a:ext cx="2160" cy="216252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87" name="Прямая соединительная линия 24"/>
          <p:cNvCxnSpPr/>
          <p:nvPr/>
        </p:nvCxnSpPr>
        <p:spPr>
          <a:xfrm>
            <a:off x="4257360" y="1643760"/>
            <a:ext cx="367452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88" name="Прямая соединительная линия 25"/>
          <p:cNvCxnSpPr/>
          <p:nvPr/>
        </p:nvCxnSpPr>
        <p:spPr>
          <a:xfrm>
            <a:off x="8206920" y="1643760"/>
            <a:ext cx="367452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89" name="Прямая соединительная линия 26"/>
          <p:cNvCxnSpPr/>
          <p:nvPr/>
        </p:nvCxnSpPr>
        <p:spPr>
          <a:xfrm>
            <a:off x="8068320" y="1714320"/>
            <a:ext cx="2160" cy="216252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90" name="Прямая соединительная линия 27"/>
          <p:cNvCxnSpPr/>
          <p:nvPr/>
        </p:nvCxnSpPr>
        <p:spPr>
          <a:xfrm>
            <a:off x="307800" y="3988440"/>
            <a:ext cx="367452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91" name="Прямая соединительная линия 29"/>
          <p:cNvCxnSpPr/>
          <p:nvPr/>
        </p:nvCxnSpPr>
        <p:spPr>
          <a:xfrm>
            <a:off x="4118760" y="4059360"/>
            <a:ext cx="2160" cy="216252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92" name="Прямая соединительная линия 38"/>
          <p:cNvCxnSpPr/>
          <p:nvPr/>
        </p:nvCxnSpPr>
        <p:spPr>
          <a:xfrm>
            <a:off x="4257360" y="3988440"/>
            <a:ext cx="367452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93" name="Прямая соединительная линия 39"/>
          <p:cNvCxnSpPr/>
          <p:nvPr/>
        </p:nvCxnSpPr>
        <p:spPr>
          <a:xfrm>
            <a:off x="8206920" y="3988440"/>
            <a:ext cx="367452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94" name="Прямая соединительная линия 40"/>
          <p:cNvCxnSpPr/>
          <p:nvPr/>
        </p:nvCxnSpPr>
        <p:spPr>
          <a:xfrm>
            <a:off x="8068320" y="4059360"/>
            <a:ext cx="2160" cy="216252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sp>
        <p:nvSpPr>
          <p:cNvPr id="95" name="PlaceHolder 1"/>
          <p:cNvSpPr>
            <a:spLocks noGrp="1"/>
          </p:cNvSpPr>
          <p:nvPr>
            <p:ph type="sldNum" idx="3"/>
          </p:nvPr>
        </p:nvSpPr>
        <p:spPr>
          <a:xfrm>
            <a:off x="11228040" y="6609600"/>
            <a:ext cx="656280" cy="3975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r" defTabSz="914400">
              <a:lnSpc>
                <a:spcPct val="100000"/>
              </a:lnSpc>
              <a:buNone/>
              <a:tabLst>
                <a:tab algn="l" pos="0"/>
              </a:tabLst>
              <a:defRPr b="0" lang="ru-RU" sz="1000" spc="-1" strike="noStrike">
                <a:solidFill>
                  <a:schemeClr val="lt1"/>
                </a:solidFill>
                <a:latin typeface="YS Text Light"/>
              </a:defRPr>
            </a:lvl1pPr>
          </a:lstStyle>
          <a:p>
            <a:pPr indent="0" algn="r" defTabSz="914400">
              <a:lnSpc>
                <a:spcPct val="100000"/>
              </a:lnSpc>
              <a:buNone/>
              <a:tabLst>
                <a:tab algn="l" pos="0"/>
              </a:tabLst>
            </a:pPr>
            <a:fld id="{A0AE1155-1705-431B-9A70-51CE6CBBD848}" type="slidenum">
              <a:rPr b="0" lang="ru-RU" sz="1000" spc="-1" strike="noStrike">
                <a:solidFill>
                  <a:schemeClr val="lt1"/>
                </a:solidFill>
                <a:latin typeface="YS Text Light"/>
              </a:rPr>
              <a:t>&lt;номер&gt;</a:t>
            </a:fld>
            <a:endParaRPr b="0" lang="ru-RU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55" r:id="rId6"/>
  </p:sldLayoutIdLst>
</p:sldMaster>
</file>

<file path=ppt/slideMasters/slideMaster5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dk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97" name="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98" name="Прямоугольник 15"/>
          <p:cNvSpPr/>
          <p:nvPr/>
        </p:nvSpPr>
        <p:spPr>
          <a:xfrm>
            <a:off x="12422160" y="521028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99" name="Прямоугольник 16"/>
          <p:cNvSpPr/>
          <p:nvPr/>
        </p:nvSpPr>
        <p:spPr>
          <a:xfrm>
            <a:off x="13270680" y="5210280"/>
            <a:ext cx="672480" cy="3157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00" name="Прямоугольник 17"/>
          <p:cNvSpPr/>
          <p:nvPr/>
        </p:nvSpPr>
        <p:spPr>
          <a:xfrm>
            <a:off x="12422160" y="6096600"/>
            <a:ext cx="672480" cy="315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01" name="Прямоугольник 18"/>
          <p:cNvSpPr/>
          <p:nvPr/>
        </p:nvSpPr>
        <p:spPr>
          <a:xfrm>
            <a:off x="12422160" y="6540120"/>
            <a:ext cx="672480" cy="3157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02" name="Прямоугольник 34"/>
          <p:cNvSpPr/>
          <p:nvPr/>
        </p:nvSpPr>
        <p:spPr>
          <a:xfrm>
            <a:off x="12422160" y="565344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03" name="Прямоугольник 35"/>
          <p:cNvSpPr/>
          <p:nvPr/>
        </p:nvSpPr>
        <p:spPr>
          <a:xfrm>
            <a:off x="13270680" y="5653440"/>
            <a:ext cx="672480" cy="31572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04" name="Прямоугольник 36"/>
          <p:cNvSpPr/>
          <p:nvPr/>
        </p:nvSpPr>
        <p:spPr>
          <a:xfrm>
            <a:off x="13265640" y="609660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05" name="Прямоугольник 37"/>
          <p:cNvSpPr/>
          <p:nvPr/>
        </p:nvSpPr>
        <p:spPr>
          <a:xfrm>
            <a:off x="13270680" y="654012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06" name="TextBox 41"/>
          <p:cNvSpPr/>
          <p:nvPr/>
        </p:nvSpPr>
        <p:spPr>
          <a:xfrm>
            <a:off x="12422160" y="4928400"/>
            <a:ext cx="86364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Фон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7" name="TextBox 42"/>
          <p:cNvSpPr/>
          <p:nvPr/>
        </p:nvSpPr>
        <p:spPr>
          <a:xfrm>
            <a:off x="13265640" y="4928400"/>
            <a:ext cx="134460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Выделения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08" name="Прямая соединительная линия 46"/>
          <p:cNvCxnSpPr/>
          <p:nvPr/>
        </p:nvCxnSpPr>
        <p:spPr>
          <a:xfrm>
            <a:off x="12421800" y="559080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109" name="Прямая соединительная линия 47"/>
          <p:cNvCxnSpPr/>
          <p:nvPr/>
        </p:nvCxnSpPr>
        <p:spPr>
          <a:xfrm>
            <a:off x="12421800" y="603396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110" name="Прямая соединительная линия 49"/>
          <p:cNvCxnSpPr/>
          <p:nvPr/>
        </p:nvCxnSpPr>
        <p:spPr>
          <a:xfrm>
            <a:off x="12421800" y="647712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graphicFrame>
        <p:nvGraphicFramePr>
          <p:cNvPr id="111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4" spid="">
              <p:embed/>
              <p:pic>
                <p:nvPicPr>
                  <p:cNvPr id="112" name="" descr=""/>
                  <p:cNvPicPr/>
                  <p:nvPr/>
                </p:nvPicPr>
                <p:blipFill>
                  <a:blip r:embed="rId5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cxnSp>
        <p:nvCxnSpPr>
          <p:cNvPr id="113" name="Прямая соединительная линия 11"/>
          <p:cNvCxnSpPr/>
          <p:nvPr/>
        </p:nvCxnSpPr>
        <p:spPr>
          <a:xfrm>
            <a:off x="307800" y="1866960"/>
            <a:ext cx="478368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114" name="Прямая соединительная линия 18"/>
          <p:cNvCxnSpPr/>
          <p:nvPr/>
        </p:nvCxnSpPr>
        <p:spPr>
          <a:xfrm>
            <a:off x="5333760" y="1866960"/>
            <a:ext cx="656820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115" name="Прямая соединительная линия 19"/>
          <p:cNvCxnSpPr/>
          <p:nvPr/>
        </p:nvCxnSpPr>
        <p:spPr>
          <a:xfrm>
            <a:off x="5211360" y="1959840"/>
            <a:ext cx="2160" cy="460332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sp>
        <p:nvSpPr>
          <p:cNvPr id="116" name="PlaceHolder 1"/>
          <p:cNvSpPr>
            <a:spLocks noGrp="1"/>
          </p:cNvSpPr>
          <p:nvPr>
            <p:ph type="sldNum" idx="4"/>
          </p:nvPr>
        </p:nvSpPr>
        <p:spPr>
          <a:xfrm>
            <a:off x="11228040" y="6609600"/>
            <a:ext cx="656280" cy="3975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r" defTabSz="914400">
              <a:lnSpc>
                <a:spcPct val="100000"/>
              </a:lnSpc>
              <a:buNone/>
              <a:tabLst>
                <a:tab algn="l" pos="0"/>
              </a:tabLst>
              <a:defRPr b="0" lang="ru-RU" sz="1000" spc="-1" strike="noStrike">
                <a:solidFill>
                  <a:schemeClr val="lt1"/>
                </a:solidFill>
                <a:latin typeface="YS Text Light"/>
              </a:defRPr>
            </a:lvl1pPr>
          </a:lstStyle>
          <a:p>
            <a:pPr indent="0" algn="r" defTabSz="914400">
              <a:lnSpc>
                <a:spcPct val="100000"/>
              </a:lnSpc>
              <a:buNone/>
              <a:tabLst>
                <a:tab algn="l" pos="0"/>
              </a:tabLst>
            </a:pPr>
            <a:fld id="{2973C582-4599-4A9E-B59C-F8146C27B092}" type="slidenum">
              <a:rPr b="0" lang="ru-RU" sz="1000" spc="-1" strike="noStrike">
                <a:solidFill>
                  <a:schemeClr val="lt1"/>
                </a:solidFill>
                <a:latin typeface="YS Text Light"/>
              </a:rPr>
              <a:t>&lt;номер&gt;</a:t>
            </a:fld>
            <a:endParaRPr b="0" lang="ru-RU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17" name="PlaceHolder 2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8" name="PlaceHolder 3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</a:t>
            </a: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57" r:id="rId6"/>
  </p:sldLayoutIdLst>
</p:sldMaster>
</file>

<file path=ppt/slideMasters/slideMaster6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dk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120" name="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21" name="Прямоугольник 15"/>
          <p:cNvSpPr/>
          <p:nvPr/>
        </p:nvSpPr>
        <p:spPr>
          <a:xfrm>
            <a:off x="12422160" y="521028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22" name="Прямоугольник 16"/>
          <p:cNvSpPr/>
          <p:nvPr/>
        </p:nvSpPr>
        <p:spPr>
          <a:xfrm>
            <a:off x="13270680" y="5210280"/>
            <a:ext cx="672480" cy="3157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23" name="Прямоугольник 17"/>
          <p:cNvSpPr/>
          <p:nvPr/>
        </p:nvSpPr>
        <p:spPr>
          <a:xfrm>
            <a:off x="12422160" y="6096600"/>
            <a:ext cx="672480" cy="315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24" name="Прямоугольник 18"/>
          <p:cNvSpPr/>
          <p:nvPr/>
        </p:nvSpPr>
        <p:spPr>
          <a:xfrm>
            <a:off x="12422160" y="6540120"/>
            <a:ext cx="672480" cy="3157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25" name="Прямоугольник 34"/>
          <p:cNvSpPr/>
          <p:nvPr/>
        </p:nvSpPr>
        <p:spPr>
          <a:xfrm>
            <a:off x="12422160" y="565344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26" name="Прямоугольник 35"/>
          <p:cNvSpPr/>
          <p:nvPr/>
        </p:nvSpPr>
        <p:spPr>
          <a:xfrm>
            <a:off x="13270680" y="5653440"/>
            <a:ext cx="672480" cy="31572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27" name="Прямоугольник 36"/>
          <p:cNvSpPr/>
          <p:nvPr/>
        </p:nvSpPr>
        <p:spPr>
          <a:xfrm>
            <a:off x="13265640" y="609660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28" name="Прямоугольник 37"/>
          <p:cNvSpPr/>
          <p:nvPr/>
        </p:nvSpPr>
        <p:spPr>
          <a:xfrm>
            <a:off x="13270680" y="654012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29" name="TextBox 41"/>
          <p:cNvSpPr/>
          <p:nvPr/>
        </p:nvSpPr>
        <p:spPr>
          <a:xfrm>
            <a:off x="12422160" y="4928400"/>
            <a:ext cx="86364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Фон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0" name="TextBox 42"/>
          <p:cNvSpPr/>
          <p:nvPr/>
        </p:nvSpPr>
        <p:spPr>
          <a:xfrm>
            <a:off x="13265640" y="4928400"/>
            <a:ext cx="134460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Выделения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31" name="Прямая соединительная линия 46"/>
          <p:cNvCxnSpPr/>
          <p:nvPr/>
        </p:nvCxnSpPr>
        <p:spPr>
          <a:xfrm>
            <a:off x="12421800" y="559080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132" name="Прямая соединительная линия 47"/>
          <p:cNvCxnSpPr/>
          <p:nvPr/>
        </p:nvCxnSpPr>
        <p:spPr>
          <a:xfrm>
            <a:off x="12421800" y="603396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133" name="Прямая соединительная линия 49"/>
          <p:cNvCxnSpPr/>
          <p:nvPr/>
        </p:nvCxnSpPr>
        <p:spPr>
          <a:xfrm>
            <a:off x="12421800" y="647712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graphicFrame>
        <p:nvGraphicFramePr>
          <p:cNvPr id="134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4" spid="">
              <p:embed/>
              <p:pic>
                <p:nvPicPr>
                  <p:cNvPr id="135" name="" descr=""/>
                  <p:cNvPicPr/>
                  <p:nvPr/>
                </p:nvPicPr>
                <p:blipFill>
                  <a:blip r:embed="rId5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</p:spTree>
  </p:cSld>
  <p:clrMap bg1="lt1" bg2="lt2" tx1="dk1" tx2="dk2" accent1="accent1" accent2="accent2" accent3="accent3" accent4="accent4" accent5="accent5" accent6="accent6" hlink="hlink" folHlink="folHlink"/>
  <p:sldLayoutIdLst>
    <p:sldLayoutId id="2147483659" r:id="rId6"/>
  </p:sldLayoutIdLst>
</p:sldMaster>
</file>

<file path=ppt/slideMasters/slideMaster7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dk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6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137" name="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38" name="Прямоугольник 15"/>
          <p:cNvSpPr/>
          <p:nvPr/>
        </p:nvSpPr>
        <p:spPr>
          <a:xfrm>
            <a:off x="12422160" y="521028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39" name="Прямоугольник 16"/>
          <p:cNvSpPr/>
          <p:nvPr/>
        </p:nvSpPr>
        <p:spPr>
          <a:xfrm>
            <a:off x="13270680" y="5210280"/>
            <a:ext cx="672480" cy="3157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40" name="Прямоугольник 17"/>
          <p:cNvSpPr/>
          <p:nvPr/>
        </p:nvSpPr>
        <p:spPr>
          <a:xfrm>
            <a:off x="12422160" y="6096600"/>
            <a:ext cx="672480" cy="315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41" name="Прямоугольник 18"/>
          <p:cNvSpPr/>
          <p:nvPr/>
        </p:nvSpPr>
        <p:spPr>
          <a:xfrm>
            <a:off x="12422160" y="6540120"/>
            <a:ext cx="672480" cy="3157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42" name="Прямоугольник 34"/>
          <p:cNvSpPr/>
          <p:nvPr/>
        </p:nvSpPr>
        <p:spPr>
          <a:xfrm>
            <a:off x="12422160" y="565344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43" name="Прямоугольник 35"/>
          <p:cNvSpPr/>
          <p:nvPr/>
        </p:nvSpPr>
        <p:spPr>
          <a:xfrm>
            <a:off x="13270680" y="5653440"/>
            <a:ext cx="672480" cy="31572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44" name="Прямоугольник 36"/>
          <p:cNvSpPr/>
          <p:nvPr/>
        </p:nvSpPr>
        <p:spPr>
          <a:xfrm>
            <a:off x="13265640" y="609660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45" name="Прямоугольник 37"/>
          <p:cNvSpPr/>
          <p:nvPr/>
        </p:nvSpPr>
        <p:spPr>
          <a:xfrm>
            <a:off x="13270680" y="654012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46" name="TextBox 41"/>
          <p:cNvSpPr/>
          <p:nvPr/>
        </p:nvSpPr>
        <p:spPr>
          <a:xfrm>
            <a:off x="12422160" y="4928400"/>
            <a:ext cx="86364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Фон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7" name="TextBox 42"/>
          <p:cNvSpPr/>
          <p:nvPr/>
        </p:nvSpPr>
        <p:spPr>
          <a:xfrm>
            <a:off x="13265640" y="4928400"/>
            <a:ext cx="134460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Выделения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48" name="Прямая соединительная линия 46"/>
          <p:cNvCxnSpPr/>
          <p:nvPr/>
        </p:nvCxnSpPr>
        <p:spPr>
          <a:xfrm>
            <a:off x="12421800" y="559080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149" name="Прямая соединительная линия 47"/>
          <p:cNvCxnSpPr/>
          <p:nvPr/>
        </p:nvCxnSpPr>
        <p:spPr>
          <a:xfrm>
            <a:off x="12421800" y="603396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150" name="Прямая соединительная линия 49"/>
          <p:cNvCxnSpPr/>
          <p:nvPr/>
        </p:nvCxnSpPr>
        <p:spPr>
          <a:xfrm>
            <a:off x="12421800" y="647712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graphicFrame>
        <p:nvGraphicFramePr>
          <p:cNvPr id="151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4" spid="">
              <p:embed/>
              <p:pic>
                <p:nvPicPr>
                  <p:cNvPr id="152" name="" descr=""/>
                  <p:cNvPicPr/>
                  <p:nvPr/>
                </p:nvPicPr>
                <p:blipFill>
                  <a:blip r:embed="rId5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53" name="PlaceHolder 1"/>
          <p:cNvSpPr>
            <a:spLocks noGrp="1"/>
          </p:cNvSpPr>
          <p:nvPr>
            <p:ph type="sldNum" idx="5"/>
          </p:nvPr>
        </p:nvSpPr>
        <p:spPr>
          <a:xfrm>
            <a:off x="11228040" y="6609600"/>
            <a:ext cx="656280" cy="3975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r" defTabSz="914400">
              <a:lnSpc>
                <a:spcPct val="100000"/>
              </a:lnSpc>
              <a:buNone/>
              <a:tabLst>
                <a:tab algn="l" pos="0"/>
              </a:tabLst>
              <a:defRPr b="0" lang="ru-RU" sz="1000" spc="-1" strike="noStrike">
                <a:solidFill>
                  <a:schemeClr val="lt1"/>
                </a:solidFill>
                <a:latin typeface="YS Text Light"/>
              </a:defRPr>
            </a:lvl1pPr>
          </a:lstStyle>
          <a:p>
            <a:pPr indent="0" algn="r" defTabSz="914400">
              <a:lnSpc>
                <a:spcPct val="100000"/>
              </a:lnSpc>
              <a:buNone/>
              <a:tabLst>
                <a:tab algn="l" pos="0"/>
              </a:tabLst>
            </a:pPr>
            <a:fld id="{BC996C11-F69E-4BC1-98D2-539C9C3B4988}" type="slidenum">
              <a:rPr b="0" lang="ru-RU" sz="1000" spc="-1" strike="noStrike">
                <a:solidFill>
                  <a:schemeClr val="lt1"/>
                </a:solidFill>
                <a:latin typeface="YS Text Light"/>
              </a:rPr>
              <a:t>&lt;номер&gt;</a:t>
            </a:fld>
            <a:endParaRPr b="0" lang="ru-RU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1" r:id="rId6"/>
  </p:sldLayoutIdLst>
</p:sldMaster>
</file>

<file path=ppt/slideMasters/slideMaster8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dk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4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155" name="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56" name="Прямоугольник 15"/>
          <p:cNvSpPr/>
          <p:nvPr/>
        </p:nvSpPr>
        <p:spPr>
          <a:xfrm>
            <a:off x="12422160" y="521028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57" name="Прямоугольник 16"/>
          <p:cNvSpPr/>
          <p:nvPr/>
        </p:nvSpPr>
        <p:spPr>
          <a:xfrm>
            <a:off x="13270680" y="5210280"/>
            <a:ext cx="672480" cy="3157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58" name="Прямоугольник 17"/>
          <p:cNvSpPr/>
          <p:nvPr/>
        </p:nvSpPr>
        <p:spPr>
          <a:xfrm>
            <a:off x="12422160" y="6096600"/>
            <a:ext cx="672480" cy="315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59" name="Прямоугольник 18"/>
          <p:cNvSpPr/>
          <p:nvPr/>
        </p:nvSpPr>
        <p:spPr>
          <a:xfrm>
            <a:off x="12422160" y="6540120"/>
            <a:ext cx="672480" cy="3157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60" name="Прямоугольник 34"/>
          <p:cNvSpPr/>
          <p:nvPr/>
        </p:nvSpPr>
        <p:spPr>
          <a:xfrm>
            <a:off x="12422160" y="565344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61" name="Прямоугольник 35"/>
          <p:cNvSpPr/>
          <p:nvPr/>
        </p:nvSpPr>
        <p:spPr>
          <a:xfrm>
            <a:off x="13270680" y="5653440"/>
            <a:ext cx="672480" cy="31572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62" name="Прямоугольник 36"/>
          <p:cNvSpPr/>
          <p:nvPr/>
        </p:nvSpPr>
        <p:spPr>
          <a:xfrm>
            <a:off x="13265640" y="609660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63" name="Прямоугольник 37"/>
          <p:cNvSpPr/>
          <p:nvPr/>
        </p:nvSpPr>
        <p:spPr>
          <a:xfrm>
            <a:off x="13270680" y="654012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64" name="TextBox 41"/>
          <p:cNvSpPr/>
          <p:nvPr/>
        </p:nvSpPr>
        <p:spPr>
          <a:xfrm>
            <a:off x="12422160" y="4928400"/>
            <a:ext cx="86364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Фон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5" name="TextBox 42"/>
          <p:cNvSpPr/>
          <p:nvPr/>
        </p:nvSpPr>
        <p:spPr>
          <a:xfrm>
            <a:off x="13265640" y="4928400"/>
            <a:ext cx="134460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Выделения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66" name="Прямая соединительная линия 46"/>
          <p:cNvCxnSpPr/>
          <p:nvPr/>
        </p:nvCxnSpPr>
        <p:spPr>
          <a:xfrm>
            <a:off x="12421800" y="559080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167" name="Прямая соединительная линия 47"/>
          <p:cNvCxnSpPr/>
          <p:nvPr/>
        </p:nvCxnSpPr>
        <p:spPr>
          <a:xfrm>
            <a:off x="12421800" y="603396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168" name="Прямая соединительная линия 49"/>
          <p:cNvCxnSpPr/>
          <p:nvPr/>
        </p:nvCxnSpPr>
        <p:spPr>
          <a:xfrm>
            <a:off x="12421800" y="647712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graphicFrame>
        <p:nvGraphicFramePr>
          <p:cNvPr id="169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4" spid="">
              <p:embed/>
              <p:pic>
                <p:nvPicPr>
                  <p:cNvPr id="170" name="" descr=""/>
                  <p:cNvPicPr/>
                  <p:nvPr/>
                </p:nvPicPr>
                <p:blipFill>
                  <a:blip r:embed="rId5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71" name="PlaceHolder 1"/>
          <p:cNvSpPr>
            <a:spLocks noGrp="1"/>
          </p:cNvSpPr>
          <p:nvPr>
            <p:ph type="sldNum" idx="6"/>
          </p:nvPr>
        </p:nvSpPr>
        <p:spPr>
          <a:xfrm>
            <a:off x="11228040" y="6609600"/>
            <a:ext cx="656280" cy="3975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r" defTabSz="914400">
              <a:lnSpc>
                <a:spcPct val="100000"/>
              </a:lnSpc>
              <a:buNone/>
              <a:tabLst>
                <a:tab algn="l" pos="0"/>
              </a:tabLst>
              <a:defRPr b="0" lang="ru-RU" sz="1000" spc="-1" strike="noStrike">
                <a:solidFill>
                  <a:schemeClr val="lt1"/>
                </a:solidFill>
                <a:latin typeface="YS Text Light"/>
              </a:defRPr>
            </a:lvl1pPr>
          </a:lstStyle>
          <a:p>
            <a:pPr indent="0" algn="r" defTabSz="914400">
              <a:lnSpc>
                <a:spcPct val="100000"/>
              </a:lnSpc>
              <a:buNone/>
              <a:tabLst>
                <a:tab algn="l" pos="0"/>
              </a:tabLst>
            </a:pPr>
            <a:fld id="{328788A9-0417-46EA-ADBD-CD40C7A9DFF3}" type="slidenum">
              <a:rPr b="0" lang="ru-RU" sz="1000" spc="-1" strike="noStrike">
                <a:solidFill>
                  <a:schemeClr val="lt1"/>
                </a:solidFill>
                <a:latin typeface="YS Text Light"/>
              </a:rPr>
              <a:t>&lt;номер&gt;</a:t>
            </a:fld>
            <a:endParaRPr b="0" lang="ru-RU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3" r:id="rId6"/>
  </p:sldLayoutIdLst>
</p:sldMaster>
</file>

<file path=ppt/slideMasters/slideMaster9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accent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173" name="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74" name="Прямоугольник 15"/>
          <p:cNvSpPr/>
          <p:nvPr/>
        </p:nvSpPr>
        <p:spPr>
          <a:xfrm>
            <a:off x="12422160" y="521028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75" name="Прямоугольник 16"/>
          <p:cNvSpPr/>
          <p:nvPr/>
        </p:nvSpPr>
        <p:spPr>
          <a:xfrm>
            <a:off x="13270680" y="5210280"/>
            <a:ext cx="672480" cy="3157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76" name="Прямоугольник 17"/>
          <p:cNvSpPr/>
          <p:nvPr/>
        </p:nvSpPr>
        <p:spPr>
          <a:xfrm>
            <a:off x="12422160" y="6096600"/>
            <a:ext cx="672480" cy="315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77" name="Прямоугольник 18"/>
          <p:cNvSpPr/>
          <p:nvPr/>
        </p:nvSpPr>
        <p:spPr>
          <a:xfrm>
            <a:off x="12422160" y="6540120"/>
            <a:ext cx="672480" cy="3157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78" name="Прямоугольник 34"/>
          <p:cNvSpPr/>
          <p:nvPr/>
        </p:nvSpPr>
        <p:spPr>
          <a:xfrm>
            <a:off x="12422160" y="565344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79" name="Прямоугольник 35"/>
          <p:cNvSpPr/>
          <p:nvPr/>
        </p:nvSpPr>
        <p:spPr>
          <a:xfrm>
            <a:off x="13270680" y="5653440"/>
            <a:ext cx="672480" cy="31572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80" name="Прямоугольник 36"/>
          <p:cNvSpPr/>
          <p:nvPr/>
        </p:nvSpPr>
        <p:spPr>
          <a:xfrm>
            <a:off x="13265640" y="6096600"/>
            <a:ext cx="672480" cy="31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81" name="Прямоугольник 37"/>
          <p:cNvSpPr/>
          <p:nvPr/>
        </p:nvSpPr>
        <p:spPr>
          <a:xfrm>
            <a:off x="13270680" y="6540120"/>
            <a:ext cx="672480" cy="31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182" name="TextBox 41"/>
          <p:cNvSpPr/>
          <p:nvPr/>
        </p:nvSpPr>
        <p:spPr>
          <a:xfrm>
            <a:off x="12422160" y="4928400"/>
            <a:ext cx="86364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Фон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3" name="TextBox 42"/>
          <p:cNvSpPr/>
          <p:nvPr/>
        </p:nvSpPr>
        <p:spPr>
          <a:xfrm>
            <a:off x="13265640" y="4928400"/>
            <a:ext cx="1344600" cy="274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100000"/>
              </a:lnSpc>
            </a:pPr>
            <a:r>
              <a:rPr b="0" lang="ru-RU" sz="1400" spc="-1" strike="noStrike">
                <a:solidFill>
                  <a:schemeClr val="lt1"/>
                </a:solidFill>
                <a:latin typeface="YS Text Light"/>
              </a:rPr>
              <a:t>Выделения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84" name="Прямая соединительная линия 46"/>
          <p:cNvCxnSpPr/>
          <p:nvPr/>
        </p:nvCxnSpPr>
        <p:spPr>
          <a:xfrm>
            <a:off x="12421800" y="559080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185" name="Прямая соединительная линия 47"/>
          <p:cNvCxnSpPr/>
          <p:nvPr/>
        </p:nvCxnSpPr>
        <p:spPr>
          <a:xfrm>
            <a:off x="12421800" y="603396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cxnSp>
        <p:nvCxnSpPr>
          <p:cNvPr id="186" name="Прямая соединительная линия 49"/>
          <p:cNvCxnSpPr/>
          <p:nvPr/>
        </p:nvCxnSpPr>
        <p:spPr>
          <a:xfrm>
            <a:off x="12421800" y="6477120"/>
            <a:ext cx="1520640" cy="21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graphicFrame>
        <p:nvGraphicFramePr>
          <p:cNvPr id="187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4" spid="">
              <p:embed/>
              <p:pic>
                <p:nvPicPr>
                  <p:cNvPr id="188" name="" descr=""/>
                  <p:cNvPicPr/>
                  <p:nvPr/>
                </p:nvPicPr>
                <p:blipFill>
                  <a:blip r:embed="rId5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cxnSp>
        <p:nvCxnSpPr>
          <p:cNvPr id="189" name="Прямая соединительная линия 5"/>
          <p:cNvCxnSpPr/>
          <p:nvPr/>
        </p:nvCxnSpPr>
        <p:spPr>
          <a:xfrm>
            <a:off x="299880" y="5362560"/>
            <a:ext cx="6772680" cy="2160"/>
          </a:xfrm>
          <a:prstGeom prst="straightConnector1">
            <a:avLst/>
          </a:prstGeom>
          <a:ln w="9525">
            <a:solidFill>
              <a:srgbClr val="313131"/>
            </a:solidFill>
            <a:round/>
          </a:ln>
        </p:spPr>
      </p:cxnSp>
      <p:cxnSp>
        <p:nvCxnSpPr>
          <p:cNvPr id="190" name="Прямая соединительная линия 11"/>
          <p:cNvCxnSpPr/>
          <p:nvPr/>
        </p:nvCxnSpPr>
        <p:spPr>
          <a:xfrm>
            <a:off x="7174440" y="5455440"/>
            <a:ext cx="2160" cy="1107720"/>
          </a:xfrm>
          <a:prstGeom prst="straightConnector1">
            <a:avLst/>
          </a:prstGeom>
          <a:ln w="9525">
            <a:solidFill>
              <a:srgbClr val="313131"/>
            </a:solidFill>
            <a:round/>
          </a:ln>
        </p:spPr>
      </p:cxnSp>
      <p:cxnSp>
        <p:nvCxnSpPr>
          <p:cNvPr id="191" name="Прямая соединительная линия 12"/>
          <p:cNvCxnSpPr/>
          <p:nvPr/>
        </p:nvCxnSpPr>
        <p:spPr>
          <a:xfrm>
            <a:off x="7277040" y="5362560"/>
            <a:ext cx="4617000" cy="2160"/>
          </a:xfrm>
          <a:prstGeom prst="straightConnector1">
            <a:avLst/>
          </a:prstGeom>
          <a:ln w="9525">
            <a:solidFill>
              <a:srgbClr val="313131"/>
            </a:solidFill>
            <a:round/>
          </a:ln>
        </p:spPr>
      </p:cxnSp>
      <p:pic>
        <p:nvPicPr>
          <p:cNvPr id="192" name="Рисунок 15" descr=""/>
          <p:cNvPicPr/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/>
        </p:blipFill>
        <p:spPr>
          <a:xfrm>
            <a:off x="9812160" y="6387480"/>
            <a:ext cx="2077920" cy="211680"/>
          </a:xfrm>
          <a:prstGeom prst="rect">
            <a:avLst/>
          </a:prstGeom>
          <a:ln w="0">
            <a:noFill/>
          </a:ln>
        </p:spPr>
      </p:pic>
      <p:sp>
        <p:nvSpPr>
          <p:cNvPr id="19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4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5" r:id="rId8"/>
  </p:sldLayoutIdLst>
</p:sldMaster>
</file>

<file path=ppt/slides/_rels/slide1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1.wmf"/><Relationship Id="rId3" Type="http://schemas.openxmlformats.org/officeDocument/2006/relationships/slideLayout" Target="../slideLayouts/slideLayout1.xml"/>
</Relationships>
</file>

<file path=ppt/slides/_rels/slide10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1.wmf"/><Relationship Id="rId3" Type="http://schemas.openxmlformats.org/officeDocument/2006/relationships/slideLayout" Target="../slideLayouts/slideLayout12.xml"/>
</Relationships>
</file>

<file path=ppt/slides/_rels/slide11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1.wmf"/><Relationship Id="rId3" Type="http://schemas.openxmlformats.org/officeDocument/2006/relationships/image" Target="../media/image9.png"/><Relationship Id="rId4" Type="http://schemas.openxmlformats.org/officeDocument/2006/relationships/slideLayout" Target="../slideLayouts/slideLayout5.xml"/>
</Relationships>
</file>

<file path=ppt/slides/_rels/slide12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1.wmf"/><Relationship Id="rId3" Type="http://schemas.openxmlformats.org/officeDocument/2006/relationships/image" Target="../media/image10.jpeg"/><Relationship Id="rId4" Type="http://schemas.openxmlformats.org/officeDocument/2006/relationships/slideLayout" Target="../slideLayouts/slideLayout5.xml"/>
</Relationships>
</file>

<file path=ppt/slides/_rels/slide13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1.wmf"/><Relationship Id="rId3" Type="http://schemas.openxmlformats.org/officeDocument/2006/relationships/image" Target="../media/image11.jpeg"/><Relationship Id="rId4" Type="http://schemas.openxmlformats.org/officeDocument/2006/relationships/slideLayout" Target="../slideLayouts/slideLayout5.xml"/>
</Relationships>
</file>

<file path=ppt/slides/_rels/slide14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1.wmf"/><Relationship Id="rId3" Type="http://schemas.openxmlformats.org/officeDocument/2006/relationships/image" Target="../media/image12.png"/><Relationship Id="rId4" Type="http://schemas.openxmlformats.org/officeDocument/2006/relationships/slideLayout" Target="../slideLayouts/slideLayout5.xml"/>
</Relationships>
</file>

<file path=ppt/slides/_rels/slide15.xml.rels><?xml version="1.0" encoding="UTF-8"?>
<Relationships xmlns="http://schemas.openxmlformats.org/package/2006/relationships"><Relationship Id="rId1" Type="http://schemas.openxmlformats.org/officeDocument/2006/relationships/image" Target="../media/image13.png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4.xml"/>
</Relationships>
</file>

<file path=ppt/slides/_rels/slide16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1.wmf"/><Relationship Id="rId3" Type="http://schemas.openxmlformats.org/officeDocument/2006/relationships/image" Target="../media/image14.jpeg"/><Relationship Id="rId4" Type="http://schemas.openxmlformats.org/officeDocument/2006/relationships/slideLayout" Target="../slideLayouts/slideLayout14.xml"/>
</Relationships>
</file>

<file path=ppt/slides/_rels/slide17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1.wmf"/><Relationship Id="rId3" Type="http://schemas.openxmlformats.org/officeDocument/2006/relationships/image" Target="../media/image15.jpeg"/><Relationship Id="rId4" Type="http://schemas.openxmlformats.org/officeDocument/2006/relationships/slideLayout" Target="../slideLayouts/slideLayout14.xml"/>
</Relationships>
</file>

<file path=ppt/slides/_rels/slide18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4.xml"/>
</Relationships>
</file>

<file path=ppt/slides/_rels/slide19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1.wmf"/><Relationship Id="rId3" Type="http://schemas.openxmlformats.org/officeDocument/2006/relationships/slideLayout" Target="../slideLayouts/slideLayout12.xml"/>
</Relationships>
</file>

<file path=ppt/slides/_rels/slide2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1.wmf"/><Relationship Id="rId3" Type="http://schemas.openxmlformats.org/officeDocument/2006/relationships/slideLayout" Target="../slideLayouts/slideLayout12.xml"/>
</Relationships>
</file>

<file path=ppt/slides/_rels/slide20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1.wmf"/><Relationship Id="rId3" Type="http://schemas.openxmlformats.org/officeDocument/2006/relationships/image" Target="../media/image13.png"/><Relationship Id="rId4" Type="http://schemas.openxmlformats.org/officeDocument/2006/relationships/slideLayout" Target="../slideLayouts/slideLayout14.xml"/>
</Relationships>
</file>

<file path=ppt/slides/_rels/slide21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1.wmf"/><Relationship Id="rId3" Type="http://schemas.openxmlformats.org/officeDocument/2006/relationships/slideLayout" Target="../slideLayouts/slideLayout12.xml"/>
</Relationships>
</file>

<file path=ppt/slides/_rels/slide22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1.wmf"/><Relationship Id="rId3" Type="http://schemas.openxmlformats.org/officeDocument/2006/relationships/slideLayout" Target="../slideLayouts/slideLayout14.xml"/>
</Relationships>
</file>

<file path=ppt/slides/_rels/slide23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1.wmf"/><Relationship Id="rId3" Type="http://schemas.openxmlformats.org/officeDocument/2006/relationships/slideLayout" Target="../slideLayouts/slideLayout9.xml"/>
</Relationships>
</file>

<file path=ppt/slides/_rels/slide3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1.wmf"/><Relationship Id="rId3" Type="http://schemas.openxmlformats.org/officeDocument/2006/relationships/image" Target="../media/image4.png"/><Relationship Id="rId4" Type="http://schemas.openxmlformats.org/officeDocument/2006/relationships/image" Target="../media/image5.png"/><Relationship Id="rId5" Type="http://schemas.openxmlformats.org/officeDocument/2006/relationships/image" Target="../media/image6.png"/><Relationship Id="rId6" Type="http://schemas.openxmlformats.org/officeDocument/2006/relationships/image" Target="../media/image7.png"/><Relationship Id="rId7" Type="http://schemas.openxmlformats.org/officeDocument/2006/relationships/image" Target="../media/image8.png"/><Relationship Id="rId8" Type="http://schemas.openxmlformats.org/officeDocument/2006/relationships/slideLayout" Target="../slideLayouts/slideLayout14.xml"/>
</Relationships>
</file>

<file path=ppt/slides/_rels/slide4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1.wmf"/><Relationship Id="rId3" Type="http://schemas.openxmlformats.org/officeDocument/2006/relationships/slideLayout" Target="../slideLayouts/slideLayout12.xml"/>
</Relationships>
</file>

<file path=ppt/slides/_rels/slide5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1.wmf"/><Relationship Id="rId3" Type="http://schemas.openxmlformats.org/officeDocument/2006/relationships/slideLayout" Target="../slideLayouts/slideLayout15.xml"/>
</Relationships>
</file>

<file path=ppt/slides/_rels/slide6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1.wmf"/><Relationship Id="rId3" Type="http://schemas.openxmlformats.org/officeDocument/2006/relationships/slideLayout" Target="../slideLayouts/slideLayout2.xml"/>
</Relationships>
</file>

<file path=ppt/slides/_rels/slide7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1.wmf"/><Relationship Id="rId3" Type="http://schemas.openxmlformats.org/officeDocument/2006/relationships/slideLayout" Target="../slideLayouts/slideLayout19.xml"/>
</Relationships>
</file>

<file path=ppt/slides/_rels/slide8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1.wmf"/><Relationship Id="rId3" Type="http://schemas.openxmlformats.org/officeDocument/2006/relationships/slideLayout" Target="../slideLayouts/slideLayout19.xml"/>
</Relationships>
</file>

<file path=ppt/slides/_rels/slide9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1.wmf"/><Relationship Id="rId3" Type="http://schemas.openxmlformats.org/officeDocument/2006/relationships/slideLayout" Target="../slideLayouts/slideLayout19.xml"/>
</Relationships>
</file>

<file path=ppt/slides/slide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dad06e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0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1" spid="">
              <p:embed/>
              <p:pic>
                <p:nvPicPr>
                  <p:cNvPr id="401" name="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402" name="Прямоугольник 17"/>
          <p:cNvSpPr/>
          <p:nvPr/>
        </p:nvSpPr>
        <p:spPr>
          <a:xfrm>
            <a:off x="352440" y="548640"/>
            <a:ext cx="2236320" cy="5202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403" name="PlaceHolder 1"/>
          <p:cNvSpPr>
            <a:spLocks noGrp="1"/>
          </p:cNvSpPr>
          <p:nvPr>
            <p:ph type="title"/>
          </p:nvPr>
        </p:nvSpPr>
        <p:spPr>
          <a:xfrm>
            <a:off x="258120" y="447120"/>
            <a:ext cx="10354320" cy="878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defTabSz="914400">
              <a:lnSpc>
                <a:spcPct val="70000"/>
              </a:lnSpc>
              <a:buNone/>
              <a:tabLst>
                <a:tab algn="l" pos="0"/>
              </a:tabLst>
            </a:pPr>
            <a:r>
              <a:rPr b="0" lang="ru-RU" sz="6600" spc="-1" strike="noStrike">
                <a:solidFill>
                  <a:schemeClr val="lt1"/>
                </a:solidFill>
                <a:latin typeface="YS Text Regular"/>
              </a:rPr>
              <a:t>Текстовое описание окружения автомобиля</a:t>
            </a:r>
            <a:endParaRPr b="0" lang="ru-RU" sz="66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4" name="PlaceHolder 2"/>
          <p:cNvSpPr>
            <a:spLocks noGrp="1"/>
          </p:cNvSpPr>
          <p:nvPr>
            <p:ph/>
          </p:nvPr>
        </p:nvSpPr>
        <p:spPr>
          <a:xfrm>
            <a:off x="312480" y="5576040"/>
            <a:ext cx="3646440" cy="982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defTabSz="914400">
              <a:lnSpc>
                <a:spcPct val="90000"/>
              </a:lnSpc>
              <a:spcAft>
                <a:spcPts val="1199"/>
              </a:spcAft>
              <a:buNone/>
              <a:tabLst>
                <a:tab algn="l" pos="0"/>
              </a:tabLst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Смоляр Родион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indent="0" defTabSz="914400">
              <a:lnSpc>
                <a:spcPct val="90000"/>
              </a:lnSpc>
              <a:spcAft>
                <a:spcPts val="1199"/>
              </a:spcAft>
              <a:buNone/>
              <a:tabLst>
                <a:tab algn="l" pos="0"/>
              </a:tabLst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Бирюков Григорий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indent="0" defTabSz="914400">
              <a:lnSpc>
                <a:spcPct val="90000"/>
              </a:lnSpc>
              <a:spcAft>
                <a:spcPts val="1199"/>
              </a:spcAft>
              <a:buNone/>
              <a:tabLst>
                <a:tab algn="l" pos="0"/>
              </a:tabLst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Ментор: Ковалева Маргарита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indent="0" defTabSz="914400">
              <a:lnSpc>
                <a:spcPct val="90000"/>
              </a:lnSpc>
              <a:spcAft>
                <a:spcPts val="1199"/>
              </a:spcAft>
              <a:buNone/>
              <a:tabLst>
                <a:tab algn="l" pos="0"/>
              </a:tabLst>
            </a:pP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indent="0" defTabSz="914400">
              <a:lnSpc>
                <a:spcPct val="90000"/>
              </a:lnSpc>
              <a:spcAft>
                <a:spcPts val="1199"/>
              </a:spcAft>
              <a:buNone/>
              <a:tabLst>
                <a:tab algn="l" pos="0"/>
              </a:tabLst>
            </a:pP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5" name="PlaceHolder 3"/>
          <p:cNvSpPr>
            <a:spLocks noGrp="1"/>
          </p:cNvSpPr>
          <p:nvPr>
            <p:ph/>
          </p:nvPr>
        </p:nvSpPr>
        <p:spPr>
          <a:xfrm>
            <a:off x="7392960" y="5576040"/>
            <a:ext cx="4496760" cy="689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defTabSz="914400">
              <a:lnSpc>
                <a:spcPct val="90000"/>
              </a:lnSpc>
              <a:spcAft>
                <a:spcPts val="1199"/>
              </a:spcAft>
              <a:buNone/>
              <a:tabLst>
                <a:tab algn="l" pos="0"/>
              </a:tabLst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Студкемп по компьютерному зрению и </a:t>
            </a: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автономному транспорту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6" name="PlaceHolder 4"/>
          <p:cNvSpPr>
            <a:spLocks noGrp="1"/>
          </p:cNvSpPr>
          <p:nvPr>
            <p:ph/>
          </p:nvPr>
        </p:nvSpPr>
        <p:spPr>
          <a:xfrm>
            <a:off x="4116960" y="5580000"/>
            <a:ext cx="3247560" cy="982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defTabSz="914400">
              <a:lnSpc>
                <a:spcPct val="90000"/>
              </a:lnSpc>
              <a:spcAft>
                <a:spcPts val="1199"/>
              </a:spcAft>
              <a:buNone/>
              <a:tabLst>
                <a:tab algn="l" pos="0"/>
              </a:tabLst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Попов Артемий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indent="0" defTabSz="914400">
              <a:lnSpc>
                <a:spcPct val="90000"/>
              </a:lnSpc>
              <a:spcAft>
                <a:spcPts val="1199"/>
              </a:spcAft>
              <a:buNone/>
              <a:tabLst>
                <a:tab algn="l" pos="0"/>
              </a:tabLst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Зайцев Илья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0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1" name="think-cell data - do not delete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1" spid="">
              <p:embed/>
              <p:pic>
                <p:nvPicPr>
                  <p:cNvPr id="472" name="think-cell data - do not delete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473" name="Прямоугольник 3"/>
          <p:cNvSpPr/>
          <p:nvPr/>
        </p:nvSpPr>
        <p:spPr>
          <a:xfrm>
            <a:off x="299880" y="5910480"/>
            <a:ext cx="2126880" cy="638640"/>
          </a:xfrm>
          <a:prstGeom prst="rect">
            <a:avLst/>
          </a:prstGeom>
          <a:solidFill>
            <a:srgbClr val="ff37b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474" name="PlaceHolder 1"/>
          <p:cNvSpPr>
            <a:spLocks noGrp="1"/>
          </p:cNvSpPr>
          <p:nvPr>
            <p:ph type="title"/>
          </p:nvPr>
        </p:nvSpPr>
        <p:spPr>
          <a:xfrm>
            <a:off x="258840" y="5774760"/>
            <a:ext cx="9664200" cy="10810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p>
            <a:pPr indent="0" defTabSz="914400">
              <a:lnSpc>
                <a:spcPct val="70000"/>
              </a:lnSpc>
              <a:buNone/>
              <a:tabLst>
                <a:tab algn="l" pos="0"/>
              </a:tabLst>
            </a:pPr>
            <a:r>
              <a:rPr b="0" lang="ru-RU" sz="9600" spc="-1" strike="noStrike">
                <a:solidFill>
                  <a:schemeClr val="lt1"/>
                </a:solidFill>
                <a:latin typeface="YS Text Regular"/>
              </a:rPr>
              <a:t>Ход работы</a:t>
            </a:r>
            <a:endParaRPr b="0" lang="ru-RU" sz="96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5" name="PlaceHolder 2"/>
          <p:cNvSpPr>
            <a:spLocks noGrp="1"/>
          </p:cNvSpPr>
          <p:nvPr>
            <p:ph/>
          </p:nvPr>
        </p:nvSpPr>
        <p:spPr>
          <a:xfrm>
            <a:off x="299880" y="150120"/>
            <a:ext cx="2441160" cy="13273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p>
            <a:pPr indent="0" defTabSz="914400">
              <a:lnSpc>
                <a:spcPct val="9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ru-ME" sz="9600" spc="-1" strike="noStrike">
                <a:solidFill>
                  <a:schemeClr val="lt1"/>
                </a:solidFill>
                <a:latin typeface="YS Text Regular"/>
              </a:rPr>
              <a:t>0</a:t>
            </a:r>
            <a:r>
              <a:rPr b="0" lang="ru-RU" sz="9600" spc="-1" strike="noStrike">
                <a:solidFill>
                  <a:schemeClr val="lt1"/>
                </a:solidFill>
                <a:latin typeface="YS Text Regular"/>
              </a:rPr>
              <a:t>3</a:t>
            </a:r>
            <a:endParaRPr b="0" lang="ru-RU" sz="96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6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r:id="rId1" spid="">
              <p:embed/>
              <p:pic>
                <p:nvPicPr>
                  <p:cNvPr id="477" name="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478" name="PlaceHolder 1"/>
          <p:cNvSpPr>
            <a:spLocks noGrp="1"/>
          </p:cNvSpPr>
          <p:nvPr>
            <p:ph type="sldNum" idx="17"/>
          </p:nvPr>
        </p:nvSpPr>
        <p:spPr>
          <a:xfrm>
            <a:off x="11228040" y="6609600"/>
            <a:ext cx="656280" cy="151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r" defTabSz="914400">
              <a:lnSpc>
                <a:spcPct val="100000"/>
              </a:lnSpc>
              <a:buNone/>
              <a:tabLst>
                <a:tab algn="l" pos="0"/>
              </a:tabLst>
              <a:defRPr b="0" lang="ru-RU" sz="1000" spc="-1" strike="noStrike">
                <a:solidFill>
                  <a:schemeClr val="lt1"/>
                </a:solidFill>
                <a:latin typeface="YS Text Light"/>
              </a:defRPr>
            </a:lvl1pPr>
          </a:lstStyle>
          <a:p>
            <a:pPr indent="0" algn="r" defTabSz="914400">
              <a:lnSpc>
                <a:spcPct val="100000"/>
              </a:lnSpc>
              <a:buNone/>
              <a:tabLst>
                <a:tab algn="l" pos="0"/>
              </a:tabLst>
            </a:pPr>
            <a:fld id="{A981F06C-61E3-4B68-B63F-6EDC81CCE928}" type="slidenum">
              <a:rPr b="0" lang="ru-RU" sz="1000" spc="-1" strike="noStrike">
                <a:solidFill>
                  <a:schemeClr val="lt1"/>
                </a:solidFill>
                <a:latin typeface="YS Text Light"/>
              </a:rPr>
              <a:t>&lt;номер&gt;</a:t>
            </a:fld>
            <a:endParaRPr b="0" lang="ru-RU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79" name="PlaceHolder 2"/>
          <p:cNvSpPr>
            <a:spLocks noGrp="1"/>
          </p:cNvSpPr>
          <p:nvPr>
            <p:ph/>
          </p:nvPr>
        </p:nvSpPr>
        <p:spPr>
          <a:xfrm>
            <a:off x="308160" y="2113920"/>
            <a:ext cx="4779000" cy="31564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177840" indent="-177840" defTabSz="914400">
              <a:lnSpc>
                <a:spcPct val="90000"/>
              </a:lnSpc>
              <a:spcAft>
                <a:spcPts val="1199"/>
              </a:spcAft>
              <a:buClr>
                <a:srgbClr val="313131"/>
              </a:buClr>
              <a:buFont typeface="Arial"/>
              <a:buChar char="•"/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Принято решение сделать библиотеку autocaption, состоящую из четырех файлов: image_loader, image_processor, feature_extractor, text_generator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marL="177840" indent="-177840" defTabSz="914400">
              <a:lnSpc>
                <a:spcPct val="90000"/>
              </a:lnSpc>
              <a:spcAft>
                <a:spcPts val="1199"/>
              </a:spcAft>
              <a:buClr>
                <a:srgbClr val="313131"/>
              </a:buClr>
              <a:buFont typeface="Arial"/>
              <a:buChar char="•"/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В каждом классе содержатся методы работы с картинками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marL="177840" indent="-177840" defTabSz="914400">
              <a:lnSpc>
                <a:spcPct val="90000"/>
              </a:lnSpc>
              <a:spcAft>
                <a:spcPts val="1199"/>
              </a:spcAft>
              <a:buClr>
                <a:srgbClr val="313131"/>
              </a:buClr>
              <a:buFont typeface="Arial"/>
              <a:buChar char="•"/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Точка входа — файл main.py: изображение обрабатывается и проходит через модели, в конце получается текстовое описание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0" name="PlaceHolder 3"/>
          <p:cNvSpPr>
            <a:spLocks noGrp="1"/>
          </p:cNvSpPr>
          <p:nvPr>
            <p:ph type="title"/>
          </p:nvPr>
        </p:nvSpPr>
        <p:spPr>
          <a:xfrm>
            <a:off x="307800" y="297000"/>
            <a:ext cx="8633880" cy="11113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defTabSz="914400">
              <a:lnSpc>
                <a:spcPct val="80000"/>
              </a:lnSpc>
              <a:buNone/>
              <a:tabLst>
                <a:tab algn="l" pos="0"/>
              </a:tabLst>
            </a:pPr>
            <a:r>
              <a:rPr b="0" lang="ru-RU" sz="4500" spc="-1" strike="noStrike">
                <a:solidFill>
                  <a:schemeClr val="lt1"/>
                </a:solidFill>
                <a:latin typeface="YS Text Regular"/>
              </a:rPr>
              <a:t>Планирование архитектуры проекта</a:t>
            </a:r>
            <a:endParaRPr b="0" lang="ru-RU" sz="45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1" name="PlaceHolder 4"/>
          <p:cNvSpPr>
            <a:spLocks noGrp="1"/>
          </p:cNvSpPr>
          <p:nvPr>
            <p:ph/>
          </p:nvPr>
        </p:nvSpPr>
        <p:spPr>
          <a:xfrm>
            <a:off x="10121760" y="297000"/>
            <a:ext cx="1767960" cy="5583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9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chemeClr val="lt1">
                    <a:lumMod val="50000"/>
                    <a:lumOff val="50000"/>
                  </a:schemeClr>
                </a:solidFill>
                <a:latin typeface="YS Text Light"/>
              </a:rPr>
              <a:t>Студкемп по компьютерному зрению и автономному транспорту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482" name="Прямая соединительная линия 6"/>
          <p:cNvCxnSpPr/>
          <p:nvPr/>
        </p:nvCxnSpPr>
        <p:spPr>
          <a:xfrm>
            <a:off x="9924840" y="296640"/>
            <a:ext cx="2160" cy="5619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pic>
        <p:nvPicPr>
          <p:cNvPr id="483" name="" descr=""/>
          <p:cNvPicPr/>
          <p:nvPr/>
        </p:nvPicPr>
        <p:blipFill>
          <a:blip r:embed="rId3"/>
          <a:stretch/>
        </p:blipFill>
        <p:spPr>
          <a:xfrm>
            <a:off x="6480000" y="2073600"/>
            <a:ext cx="4678200" cy="2964600"/>
          </a:xfrm>
          <a:prstGeom prst="rect">
            <a:avLst/>
          </a:prstGeom>
          <a:ln w="0">
            <a:noFill/>
          </a:ln>
        </p:spPr>
      </p:pic>
      <p:sp>
        <p:nvSpPr>
          <p:cNvPr id="484" name=""/>
          <p:cNvSpPr/>
          <p:nvPr/>
        </p:nvSpPr>
        <p:spPr>
          <a:xfrm>
            <a:off x="7380000" y="5040000"/>
            <a:ext cx="4138200" cy="3308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</a:pPr>
            <a:r>
              <a:rPr b="0" lang="ru-RU" sz="1400" spc="-1" strike="noStrike">
                <a:solidFill>
                  <a:srgbClr val="808080"/>
                </a:solidFill>
                <a:latin typeface="ys text light"/>
              </a:rPr>
              <a:t>Файловая структура проекта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5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r:id="rId1" spid="">
              <p:embed/>
              <p:pic>
                <p:nvPicPr>
                  <p:cNvPr id="486" name="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487" name="PlaceHolder 1"/>
          <p:cNvSpPr>
            <a:spLocks noGrp="1"/>
          </p:cNvSpPr>
          <p:nvPr>
            <p:ph type="sldNum" idx="18"/>
          </p:nvPr>
        </p:nvSpPr>
        <p:spPr>
          <a:xfrm>
            <a:off x="11228040" y="6609600"/>
            <a:ext cx="656280" cy="151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r" defTabSz="914400">
              <a:lnSpc>
                <a:spcPct val="100000"/>
              </a:lnSpc>
              <a:buNone/>
              <a:tabLst>
                <a:tab algn="l" pos="0"/>
              </a:tabLst>
              <a:defRPr b="0" lang="ru-RU" sz="1000" spc="-1" strike="noStrike">
                <a:solidFill>
                  <a:schemeClr val="lt1"/>
                </a:solidFill>
                <a:latin typeface="YS Text Light"/>
              </a:defRPr>
            </a:lvl1pPr>
          </a:lstStyle>
          <a:p>
            <a:pPr indent="0" algn="r" defTabSz="914400">
              <a:lnSpc>
                <a:spcPct val="100000"/>
              </a:lnSpc>
              <a:buNone/>
              <a:tabLst>
                <a:tab algn="l" pos="0"/>
              </a:tabLst>
            </a:pPr>
            <a:fld id="{B354B271-8955-4CBC-BEA2-9906B55372D1}" type="slidenum">
              <a:rPr b="0" lang="ru-RU" sz="1000" spc="-1" strike="noStrike">
                <a:solidFill>
                  <a:schemeClr val="lt1"/>
                </a:solidFill>
                <a:latin typeface="YS Text Light"/>
              </a:rPr>
              <a:t>&lt;номер&gt;</a:t>
            </a:fld>
            <a:endParaRPr b="0" lang="ru-RU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88" name="PlaceHolder 2"/>
          <p:cNvSpPr>
            <a:spLocks noGrp="1"/>
          </p:cNvSpPr>
          <p:nvPr>
            <p:ph/>
          </p:nvPr>
        </p:nvSpPr>
        <p:spPr>
          <a:xfrm>
            <a:off x="308160" y="2113920"/>
            <a:ext cx="4779000" cy="31564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177840" indent="-177840" defTabSz="914400">
              <a:lnSpc>
                <a:spcPct val="90000"/>
              </a:lnSpc>
              <a:spcAft>
                <a:spcPts val="1199"/>
              </a:spcAft>
              <a:buClr>
                <a:srgbClr val="313131"/>
              </a:buClr>
              <a:buFont typeface="Arial"/>
              <a:buChar char="•"/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Не все картинки в датасете были изначально повёрнуты правильно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marL="177840" indent="-177840" defTabSz="914400">
              <a:lnSpc>
                <a:spcPct val="90000"/>
              </a:lnSpc>
              <a:spcAft>
                <a:spcPts val="1199"/>
              </a:spcAft>
              <a:buClr>
                <a:srgbClr val="313131"/>
              </a:buClr>
              <a:buFont typeface="Arial"/>
              <a:buChar char="•"/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Дообучена модель ResNet50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marL="177840" indent="-177840" defTabSz="914400">
              <a:lnSpc>
                <a:spcPct val="90000"/>
              </a:lnSpc>
              <a:spcAft>
                <a:spcPts val="1199"/>
              </a:spcAft>
              <a:buClr>
                <a:srgbClr val="313131"/>
              </a:buClr>
              <a:buFont typeface="Arial"/>
              <a:buChar char="•"/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Из датасета отобраны картинки, имеющие изначально правильную ориентацию, в процессе обучения они поворачивались на определенный угол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9" name="PlaceHolder 3"/>
          <p:cNvSpPr>
            <a:spLocks noGrp="1"/>
          </p:cNvSpPr>
          <p:nvPr>
            <p:ph type="title"/>
          </p:nvPr>
        </p:nvSpPr>
        <p:spPr>
          <a:xfrm>
            <a:off x="307800" y="297000"/>
            <a:ext cx="8633880" cy="11113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defTabSz="914400">
              <a:lnSpc>
                <a:spcPct val="80000"/>
              </a:lnSpc>
              <a:buNone/>
              <a:tabLst>
                <a:tab algn="l" pos="0"/>
              </a:tabLst>
            </a:pPr>
            <a:r>
              <a:rPr b="0" lang="ru-RU" sz="4500" spc="-1" strike="noStrike">
                <a:solidFill>
                  <a:schemeClr val="lt1"/>
                </a:solidFill>
                <a:latin typeface="YS Text Regular"/>
              </a:rPr>
              <a:t>Модель, поворачивающая изображение</a:t>
            </a:r>
            <a:endParaRPr b="0" lang="ru-RU" sz="45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0" name="PlaceHolder 4"/>
          <p:cNvSpPr>
            <a:spLocks noGrp="1"/>
          </p:cNvSpPr>
          <p:nvPr>
            <p:ph/>
          </p:nvPr>
        </p:nvSpPr>
        <p:spPr>
          <a:xfrm>
            <a:off x="10121760" y="297000"/>
            <a:ext cx="1767960" cy="5583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9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chemeClr val="lt1">
                    <a:lumMod val="50000"/>
                    <a:lumOff val="50000"/>
                  </a:schemeClr>
                </a:solidFill>
                <a:latin typeface="YS Text Light"/>
              </a:rPr>
              <a:t>Студкемп по компьютерному зрению и автономному транспорту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491" name="Прямая соединительная линия 9"/>
          <p:cNvCxnSpPr/>
          <p:nvPr/>
        </p:nvCxnSpPr>
        <p:spPr>
          <a:xfrm>
            <a:off x="9924840" y="296640"/>
            <a:ext cx="2160" cy="5619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sp>
        <p:nvSpPr>
          <p:cNvPr id="492" name=""/>
          <p:cNvSpPr/>
          <p:nvPr/>
        </p:nvSpPr>
        <p:spPr>
          <a:xfrm>
            <a:off x="9540000" y="3646800"/>
            <a:ext cx="2158200" cy="8154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</a:pPr>
            <a:r>
              <a:rPr b="0" lang="ru-RU" sz="1400" spc="-1" strike="noStrike">
                <a:solidFill>
                  <a:srgbClr val="808080"/>
                </a:solidFill>
                <a:latin typeface="ys text light"/>
              </a:rPr>
              <a:t>Пример картинки с неправильной ориентацией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493" name="" descr=""/>
          <p:cNvPicPr/>
          <p:nvPr/>
        </p:nvPicPr>
        <p:blipFill>
          <a:blip r:embed="rId3"/>
          <a:stretch/>
        </p:blipFill>
        <p:spPr>
          <a:xfrm>
            <a:off x="6222960" y="1980000"/>
            <a:ext cx="2595240" cy="461556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4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r:id="rId1" spid="">
              <p:embed/>
              <p:pic>
                <p:nvPicPr>
                  <p:cNvPr id="495" name="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496" name="PlaceHolder 1"/>
          <p:cNvSpPr>
            <a:spLocks noGrp="1"/>
          </p:cNvSpPr>
          <p:nvPr>
            <p:ph type="sldNum" idx="19"/>
          </p:nvPr>
        </p:nvSpPr>
        <p:spPr>
          <a:xfrm>
            <a:off x="11228040" y="6609600"/>
            <a:ext cx="656280" cy="151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r" defTabSz="914400">
              <a:lnSpc>
                <a:spcPct val="100000"/>
              </a:lnSpc>
              <a:buNone/>
              <a:tabLst>
                <a:tab algn="l" pos="0"/>
              </a:tabLst>
              <a:defRPr b="0" lang="ru-RU" sz="1000" spc="-1" strike="noStrike">
                <a:solidFill>
                  <a:schemeClr val="lt1"/>
                </a:solidFill>
                <a:latin typeface="YS Text Light"/>
              </a:defRPr>
            </a:lvl1pPr>
          </a:lstStyle>
          <a:p>
            <a:pPr indent="0" algn="r" defTabSz="914400">
              <a:lnSpc>
                <a:spcPct val="100000"/>
              </a:lnSpc>
              <a:buNone/>
              <a:tabLst>
                <a:tab algn="l" pos="0"/>
              </a:tabLst>
            </a:pPr>
            <a:fld id="{36EF5372-5B74-4CDF-8B18-38327C3401E4}" type="slidenum">
              <a:rPr b="0" lang="ru-RU" sz="1000" spc="-1" strike="noStrike">
                <a:solidFill>
                  <a:schemeClr val="lt1"/>
                </a:solidFill>
                <a:latin typeface="YS Text Light"/>
              </a:rPr>
              <a:t>&lt;номер&gt;</a:t>
            </a:fld>
            <a:endParaRPr b="0" lang="ru-RU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97" name="PlaceHolder 2"/>
          <p:cNvSpPr>
            <a:spLocks noGrp="1"/>
          </p:cNvSpPr>
          <p:nvPr>
            <p:ph/>
          </p:nvPr>
        </p:nvSpPr>
        <p:spPr>
          <a:xfrm>
            <a:off x="308160" y="2113920"/>
            <a:ext cx="4779000" cy="31564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177840" indent="-177840" defTabSz="914400">
              <a:lnSpc>
                <a:spcPct val="90000"/>
              </a:lnSpc>
              <a:spcAft>
                <a:spcPts val="1199"/>
              </a:spcAft>
              <a:buClr>
                <a:srgbClr val="313131"/>
              </a:buClr>
              <a:buFont typeface="Arial"/>
              <a:buChar char="•"/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На некоторых фото нет автомобиля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marL="177840" indent="-177840" defTabSz="914400">
              <a:lnSpc>
                <a:spcPct val="90000"/>
              </a:lnSpc>
              <a:spcAft>
                <a:spcPts val="1199"/>
              </a:spcAft>
              <a:buClr>
                <a:srgbClr val="313131"/>
              </a:buClr>
              <a:buFont typeface="Arial"/>
              <a:buChar char="•"/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Обычно это некачественные фотографии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marL="177840" indent="-177840" defTabSz="914400">
              <a:lnSpc>
                <a:spcPct val="90000"/>
              </a:lnSpc>
              <a:spcAft>
                <a:spcPts val="1199"/>
              </a:spcAft>
              <a:buClr>
                <a:srgbClr val="313131"/>
              </a:buClr>
              <a:buFont typeface="Arial"/>
              <a:buChar char="•"/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В любом случае, решать задачу описания окружения автомобиля без автомобиля нецелесообразно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8" name="PlaceHolder 3"/>
          <p:cNvSpPr>
            <a:spLocks noGrp="1"/>
          </p:cNvSpPr>
          <p:nvPr>
            <p:ph type="title"/>
          </p:nvPr>
        </p:nvSpPr>
        <p:spPr>
          <a:xfrm>
            <a:off x="307800" y="297000"/>
            <a:ext cx="8633880" cy="11113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defTabSz="914400">
              <a:lnSpc>
                <a:spcPct val="80000"/>
              </a:lnSpc>
              <a:buNone/>
              <a:tabLst>
                <a:tab algn="l" pos="0"/>
              </a:tabLst>
            </a:pPr>
            <a:r>
              <a:rPr b="0" lang="ru-RU" sz="4500" spc="-1" strike="noStrike">
                <a:solidFill>
                  <a:schemeClr val="lt1"/>
                </a:solidFill>
                <a:latin typeface="YS Text Regular"/>
              </a:rPr>
              <a:t>Модель, определяющая автомобиль на фото</a:t>
            </a:r>
            <a:endParaRPr b="0" lang="ru-RU" sz="45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9" name="PlaceHolder 4"/>
          <p:cNvSpPr>
            <a:spLocks noGrp="1"/>
          </p:cNvSpPr>
          <p:nvPr>
            <p:ph/>
          </p:nvPr>
        </p:nvSpPr>
        <p:spPr>
          <a:xfrm>
            <a:off x="10121760" y="297000"/>
            <a:ext cx="1767960" cy="5583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9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chemeClr val="lt1">
                    <a:lumMod val="50000"/>
                    <a:lumOff val="50000"/>
                  </a:schemeClr>
                </a:solidFill>
                <a:latin typeface="YS Text Light"/>
              </a:rPr>
              <a:t>Студкемп по компьютерному зрению и автономному транспорту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500" name="Прямая соединительная линия 10"/>
          <p:cNvCxnSpPr/>
          <p:nvPr/>
        </p:nvCxnSpPr>
        <p:spPr>
          <a:xfrm>
            <a:off x="9924840" y="296640"/>
            <a:ext cx="2160" cy="5619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sp>
        <p:nvSpPr>
          <p:cNvPr id="501" name=""/>
          <p:cNvSpPr/>
          <p:nvPr/>
        </p:nvSpPr>
        <p:spPr>
          <a:xfrm>
            <a:off x="9360000" y="3780000"/>
            <a:ext cx="2158200" cy="8154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</a:pPr>
            <a:r>
              <a:rPr b="0" lang="ru-RU" sz="1400" spc="-1" strike="noStrike">
                <a:solidFill>
                  <a:srgbClr val="808080"/>
                </a:solidFill>
                <a:latin typeface="ys text light"/>
              </a:rPr>
              <a:t>Пример фото, на котором нет автомобиля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02" name="" descr=""/>
          <p:cNvPicPr/>
          <p:nvPr/>
        </p:nvPicPr>
        <p:blipFill>
          <a:blip r:embed="rId3"/>
          <a:stretch/>
        </p:blipFill>
        <p:spPr>
          <a:xfrm>
            <a:off x="5995080" y="2160000"/>
            <a:ext cx="3003120" cy="449820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3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r:id="rId1" spid="">
              <p:embed/>
              <p:pic>
                <p:nvPicPr>
                  <p:cNvPr id="504" name="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505" name="PlaceHolder 1"/>
          <p:cNvSpPr>
            <a:spLocks noGrp="1"/>
          </p:cNvSpPr>
          <p:nvPr>
            <p:ph type="sldNum" idx="20"/>
          </p:nvPr>
        </p:nvSpPr>
        <p:spPr>
          <a:xfrm>
            <a:off x="11228040" y="6609600"/>
            <a:ext cx="656280" cy="151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r" defTabSz="914400">
              <a:lnSpc>
                <a:spcPct val="100000"/>
              </a:lnSpc>
              <a:buNone/>
              <a:tabLst>
                <a:tab algn="l" pos="0"/>
              </a:tabLst>
              <a:defRPr b="0" lang="ru-RU" sz="1000" spc="-1" strike="noStrike">
                <a:solidFill>
                  <a:schemeClr val="lt1"/>
                </a:solidFill>
                <a:latin typeface="YS Text Light"/>
              </a:defRPr>
            </a:lvl1pPr>
          </a:lstStyle>
          <a:p>
            <a:pPr indent="0" algn="r" defTabSz="914400">
              <a:lnSpc>
                <a:spcPct val="100000"/>
              </a:lnSpc>
              <a:buNone/>
              <a:tabLst>
                <a:tab algn="l" pos="0"/>
              </a:tabLst>
            </a:pPr>
            <a:fld id="{B2BB6950-5746-4CBA-AD5C-429E81FC401D}" type="slidenum">
              <a:rPr b="0" lang="ru-RU" sz="1000" spc="-1" strike="noStrike">
                <a:solidFill>
                  <a:schemeClr val="lt1"/>
                </a:solidFill>
                <a:latin typeface="YS Text Light"/>
              </a:rPr>
              <a:t>&lt;номер&gt;</a:t>
            </a:fld>
            <a:endParaRPr b="0" lang="ru-RU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506" name="PlaceHolder 2"/>
          <p:cNvSpPr>
            <a:spLocks noGrp="1"/>
          </p:cNvSpPr>
          <p:nvPr>
            <p:ph/>
          </p:nvPr>
        </p:nvSpPr>
        <p:spPr>
          <a:xfrm>
            <a:off x="259200" y="2061720"/>
            <a:ext cx="4779000" cy="31564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177840" indent="-177840" defTabSz="914400">
              <a:lnSpc>
                <a:spcPct val="90000"/>
              </a:lnSpc>
              <a:spcAft>
                <a:spcPts val="1199"/>
              </a:spcAft>
              <a:buClr>
                <a:srgbClr val="313131"/>
              </a:buClr>
              <a:buFont typeface="Arial"/>
              <a:buChar char="•"/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Иногда по предметам можно понять окружение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marL="177840" indent="-177840" defTabSz="914400">
              <a:lnSpc>
                <a:spcPct val="90000"/>
              </a:lnSpc>
              <a:spcAft>
                <a:spcPts val="1199"/>
              </a:spcAft>
              <a:buClr>
                <a:srgbClr val="313131"/>
              </a:buClr>
              <a:buFont typeface="Arial"/>
              <a:buChar char="•"/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В обычных датасетах есть не все подходящие классы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marL="177840" indent="-177840" defTabSz="914400">
              <a:lnSpc>
                <a:spcPct val="90000"/>
              </a:lnSpc>
              <a:spcAft>
                <a:spcPts val="1199"/>
              </a:spcAft>
              <a:buClr>
                <a:srgbClr val="313131"/>
              </a:buClr>
              <a:buFont typeface="Arial"/>
              <a:buChar char="•"/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Была обучена модель YOLO на датасете Google Open Images, содержащим 60 классов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7" name="PlaceHolder 3"/>
          <p:cNvSpPr>
            <a:spLocks noGrp="1"/>
          </p:cNvSpPr>
          <p:nvPr>
            <p:ph type="title"/>
          </p:nvPr>
        </p:nvSpPr>
        <p:spPr>
          <a:xfrm>
            <a:off x="307800" y="297000"/>
            <a:ext cx="8633880" cy="11113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defTabSz="914400">
              <a:lnSpc>
                <a:spcPct val="80000"/>
              </a:lnSpc>
              <a:buNone/>
              <a:tabLst>
                <a:tab algn="l" pos="0"/>
              </a:tabLst>
            </a:pPr>
            <a:r>
              <a:rPr b="0" lang="ru-RU" sz="4500" spc="-1" strike="noStrike">
                <a:solidFill>
                  <a:schemeClr val="lt1"/>
                </a:solidFill>
                <a:latin typeface="YS Text Regular"/>
              </a:rPr>
              <a:t>Модель, которая находит предметы на фото</a:t>
            </a:r>
            <a:endParaRPr b="0" lang="ru-RU" sz="45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8" name="PlaceHolder 4"/>
          <p:cNvSpPr>
            <a:spLocks noGrp="1"/>
          </p:cNvSpPr>
          <p:nvPr>
            <p:ph/>
          </p:nvPr>
        </p:nvSpPr>
        <p:spPr>
          <a:xfrm>
            <a:off x="10121760" y="297000"/>
            <a:ext cx="1767960" cy="5583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9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chemeClr val="lt1">
                    <a:lumMod val="50000"/>
                    <a:lumOff val="50000"/>
                  </a:schemeClr>
                </a:solidFill>
                <a:latin typeface="YS Text Light"/>
              </a:rPr>
              <a:t>Студкемп по компьютерному зрению и автономному транспорту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509" name="Прямая соединительная линия 12"/>
          <p:cNvCxnSpPr/>
          <p:nvPr/>
        </p:nvCxnSpPr>
        <p:spPr>
          <a:xfrm>
            <a:off x="9924840" y="296640"/>
            <a:ext cx="2160" cy="5619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sp>
        <p:nvSpPr>
          <p:cNvPr id="510" name=""/>
          <p:cNvSpPr/>
          <p:nvPr/>
        </p:nvSpPr>
        <p:spPr>
          <a:xfrm>
            <a:off x="7740000" y="5905080"/>
            <a:ext cx="2158200" cy="5731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</a:pPr>
            <a:r>
              <a:rPr b="0" lang="ru-RU" sz="1400" spc="-1" strike="noStrike">
                <a:solidFill>
                  <a:srgbClr val="808080"/>
                </a:solidFill>
                <a:latin typeface="ys text light"/>
              </a:rPr>
              <a:t>Найденные классы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11" name="" descr=""/>
          <p:cNvPicPr/>
          <p:nvPr/>
        </p:nvPicPr>
        <p:blipFill>
          <a:blip r:embed="rId3"/>
          <a:stretch/>
        </p:blipFill>
        <p:spPr>
          <a:xfrm>
            <a:off x="5406480" y="2037960"/>
            <a:ext cx="6471720" cy="372024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5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" name="PlaceHolder 1"/>
          <p:cNvSpPr>
            <a:spLocks noGrp="1"/>
          </p:cNvSpPr>
          <p:nvPr>
            <p:ph type="sldNum" idx="21"/>
          </p:nvPr>
        </p:nvSpPr>
        <p:spPr>
          <a:xfrm>
            <a:off x="11228040" y="6609600"/>
            <a:ext cx="656280" cy="151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r" defTabSz="914400">
              <a:lnSpc>
                <a:spcPct val="100000"/>
              </a:lnSpc>
              <a:buNone/>
              <a:tabLst>
                <a:tab algn="l" pos="0"/>
              </a:tabLst>
              <a:defRPr b="0" lang="ru-RU" sz="1000" spc="-1" strike="noStrike">
                <a:solidFill>
                  <a:schemeClr val="lt1"/>
                </a:solidFill>
                <a:latin typeface="YS Text Light"/>
              </a:defRPr>
            </a:lvl1pPr>
          </a:lstStyle>
          <a:p>
            <a:pPr indent="0" algn="r" defTabSz="914400">
              <a:lnSpc>
                <a:spcPct val="100000"/>
              </a:lnSpc>
              <a:buNone/>
              <a:tabLst>
                <a:tab algn="l" pos="0"/>
              </a:tabLst>
            </a:pPr>
            <a:fld id="{A405D7F0-7646-46A0-B67D-DA9E110A5807}" type="slidenum">
              <a:rPr b="0" lang="ru-RU" sz="1000" spc="-1" strike="noStrike">
                <a:solidFill>
                  <a:schemeClr val="lt1"/>
                </a:solidFill>
                <a:latin typeface="YS Text Light"/>
              </a:rPr>
              <a:t>&lt;номер&gt;</a:t>
            </a:fld>
            <a:endParaRPr b="0" lang="ru-RU" sz="1000" spc="-1" strike="noStrike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513" name="" descr=""/>
          <p:cNvPicPr/>
          <p:nvPr/>
        </p:nvPicPr>
        <p:blipFill>
          <a:blip r:embed="rId1"/>
          <a:stretch/>
        </p:blipFill>
        <p:spPr>
          <a:xfrm>
            <a:off x="8371080" y="-180000"/>
            <a:ext cx="3855240" cy="707220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514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515" name="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516" name="Номер слайда 14"/>
          <p:cNvSpPr/>
          <p:nvPr/>
        </p:nvSpPr>
        <p:spPr>
          <a:xfrm>
            <a:off x="11228040" y="6609600"/>
            <a:ext cx="656280" cy="151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914400">
              <a:lnSpc>
                <a:spcPct val="100000"/>
              </a:lnSpc>
            </a:pPr>
            <a:fld id="{E4E11DAB-C0C0-4391-AC31-ECF2549B0B95}" type="slidenum">
              <a:rPr b="0" lang="ru-RU" sz="1000" spc="-1" strike="noStrike">
                <a:solidFill>
                  <a:schemeClr val="lt1"/>
                </a:solidFill>
                <a:latin typeface="YS Text Light"/>
              </a:rPr>
              <a:t>&lt;номер&gt;</a:t>
            </a:fld>
            <a:endParaRPr b="0" lang="ru-RU" sz="1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7" name="Объект 23"/>
          <p:cNvSpPr/>
          <p:nvPr/>
        </p:nvSpPr>
        <p:spPr>
          <a:xfrm>
            <a:off x="259200" y="2340000"/>
            <a:ext cx="4779000" cy="31564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marL="177840" indent="-177840" defTabSz="914400">
              <a:lnSpc>
                <a:spcPct val="90000"/>
              </a:lnSpc>
              <a:spcAft>
                <a:spcPts val="1199"/>
              </a:spcAft>
              <a:buClr>
                <a:srgbClr val="313131"/>
              </a:buClr>
              <a:buFont typeface="Arial"/>
              <a:buChar char="•"/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Попытка получить информацию о сцене, решая задачу multi-label классификации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marL="177840" indent="-177840" defTabSz="914400">
              <a:lnSpc>
                <a:spcPct val="90000"/>
              </a:lnSpc>
              <a:spcAft>
                <a:spcPts val="1199"/>
              </a:spcAft>
              <a:buClr>
                <a:srgbClr val="313131"/>
              </a:buClr>
              <a:buFont typeface="Arial"/>
              <a:buChar char="•"/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Применена модель ResNet18, обученная датасете BDD100k, специально собранном для подобных задач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8" name="Заголовок 15"/>
          <p:cNvSpPr/>
          <p:nvPr/>
        </p:nvSpPr>
        <p:spPr>
          <a:xfrm>
            <a:off x="307800" y="297000"/>
            <a:ext cx="8633880" cy="11113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80000"/>
              </a:lnSpc>
            </a:pPr>
            <a:r>
              <a:rPr b="0" lang="ru-RU" sz="4200" spc="-1" strike="noStrike">
                <a:solidFill>
                  <a:schemeClr val="lt1"/>
                </a:solidFill>
                <a:latin typeface="YS Text Regular"/>
              </a:rPr>
              <a:t>Модель, классифицирующая сцену</a:t>
            </a:r>
            <a:endParaRPr b="0" lang="ru-RU" sz="4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9" name=""/>
          <p:cNvSpPr/>
          <p:nvPr/>
        </p:nvSpPr>
        <p:spPr>
          <a:xfrm>
            <a:off x="1800000" y="6139800"/>
            <a:ext cx="6118200" cy="5184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</a:pPr>
            <a:r>
              <a:rPr b="0" lang="ru-RU" sz="1000" spc="-1" strike="noStrike">
                <a:solidFill>
                  <a:srgbClr val="000000"/>
                </a:solidFill>
                <a:latin typeface="Courier New"/>
              </a:rPr>
              <a:t>{'other': 0.08122928440570831, 'highway': 0.12126690149307251, 'residential': 0.8982969522476196, 'city street': 0.06356442719697952, 'parking lot': 0.7530761361122131, 'gas stations': 0.11552013456821442}</a:t>
            </a:r>
            <a:endParaRPr b="0" lang="ru-RU" sz="1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0" name="PlaceHolder 9"/>
          <p:cNvSpPr txBox="1"/>
          <p:nvPr/>
        </p:nvSpPr>
        <p:spPr>
          <a:xfrm>
            <a:off x="11228400" y="6609960"/>
            <a:ext cx="656280" cy="151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algn="r" defTabSz="914400">
              <a:lnSpc>
                <a:spcPct val="100000"/>
              </a:lnSpc>
              <a:tabLst>
                <a:tab algn="l" pos="0"/>
              </a:tabLst>
            </a:pPr>
            <a:fld id="{366CA80B-CFB1-4933-8D42-63C9D405DB15}" type="slidenum">
              <a:rPr b="0" lang="ru-RU" sz="1000" spc="-1" strike="noStrike">
                <a:solidFill>
                  <a:srgbClr val="ffffff"/>
                </a:solidFill>
                <a:latin typeface="YS Text Light"/>
              </a:rPr>
              <a:t>&lt;номер&gt;</a:t>
            </a:fld>
            <a:endParaRPr b="0" lang="ru-RU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6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1" name=""/>
          <p:cNvGraphicFramePr/>
          <p:nvPr/>
        </p:nvGraphicFramePr>
        <p:xfrm>
          <a:off x="1440" y="1800"/>
          <a:ext cx="360" cy="360"/>
        </p:xfrm>
        <a:graphic>
          <a:graphicData uri="http://schemas.openxmlformats.org/presentationml/2006/ole">
            <p:oleObj r:id="rId1" spid="">
              <p:embed/>
              <p:pic>
                <p:nvPicPr>
                  <p:cNvPr id="522" name="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80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523" name="Номер слайда 15"/>
          <p:cNvSpPr/>
          <p:nvPr/>
        </p:nvSpPr>
        <p:spPr>
          <a:xfrm>
            <a:off x="11228040" y="6609960"/>
            <a:ext cx="656280" cy="151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914400">
              <a:lnSpc>
                <a:spcPct val="100000"/>
              </a:lnSpc>
            </a:pPr>
            <a:fld id="{BEEF6A8C-1371-43AF-9F7F-463959114188}" type="slidenum">
              <a:rPr b="0" lang="ru-RU" sz="1000" spc="-1" strike="noStrike">
                <a:solidFill>
                  <a:schemeClr val="lt1"/>
                </a:solidFill>
                <a:latin typeface="YS Text Light"/>
              </a:rPr>
              <a:t>&lt;номер&gt;</a:t>
            </a:fld>
            <a:endParaRPr b="0" lang="ru-RU" sz="1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4" name="Объект 24"/>
          <p:cNvSpPr/>
          <p:nvPr/>
        </p:nvSpPr>
        <p:spPr>
          <a:xfrm>
            <a:off x="259200" y="2062080"/>
            <a:ext cx="4779000" cy="31564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marL="177840" indent="-177840" defTabSz="914400">
              <a:lnSpc>
                <a:spcPct val="90000"/>
              </a:lnSpc>
              <a:spcAft>
                <a:spcPts val="1199"/>
              </a:spcAft>
              <a:buClr>
                <a:srgbClr val="313131"/>
              </a:buClr>
              <a:buFont typeface="Arial"/>
              <a:buChar char="•"/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Попытка получить краткое описание картинки с помощью модели BLIP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marL="177840" indent="-177840" defTabSz="914400">
              <a:lnSpc>
                <a:spcPct val="90000"/>
              </a:lnSpc>
              <a:spcAft>
                <a:spcPts val="1199"/>
              </a:spcAft>
              <a:buClr>
                <a:srgbClr val="313131"/>
              </a:buClr>
              <a:buFont typeface="Arial"/>
              <a:buChar char="•"/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Использовано две модели: в одну подается вопрос, в другую - нет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marL="177840" indent="-177840" defTabSz="914400">
              <a:lnSpc>
                <a:spcPct val="90000"/>
              </a:lnSpc>
              <a:spcAft>
                <a:spcPts val="1199"/>
              </a:spcAft>
              <a:buClr>
                <a:srgbClr val="313131"/>
              </a:buClr>
              <a:buFont typeface="Arial"/>
              <a:buChar char="•"/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Получаем четыре разных описания: три от первой модели, и одно от второй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5" name="Заголовок 16"/>
          <p:cNvSpPr/>
          <p:nvPr/>
        </p:nvSpPr>
        <p:spPr>
          <a:xfrm>
            <a:off x="307800" y="297360"/>
            <a:ext cx="8633880" cy="11113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80000"/>
              </a:lnSpc>
            </a:pPr>
            <a:r>
              <a:rPr b="0" lang="ru-RU" sz="4500" spc="-1" strike="noStrike">
                <a:solidFill>
                  <a:schemeClr val="lt1"/>
                </a:solidFill>
                <a:latin typeface="YS Text Regular"/>
              </a:rPr>
              <a:t>Модель, генерирующая краткое описание</a:t>
            </a:r>
            <a:endParaRPr b="0" lang="ru-RU" sz="45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6" name="Текст 15"/>
          <p:cNvSpPr/>
          <p:nvPr/>
        </p:nvSpPr>
        <p:spPr>
          <a:xfrm>
            <a:off x="10121760" y="297360"/>
            <a:ext cx="1767960" cy="5583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ctr">
            <a:noAutofit/>
          </a:bodyPr>
          <a:p>
            <a:pPr defTabSz="914400">
              <a:lnSpc>
                <a:spcPct val="9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ru-RU" sz="1400" spc="-1" strike="noStrike">
                <a:solidFill>
                  <a:schemeClr val="lt1">
                    <a:lumMod val="50000"/>
                    <a:lumOff val="50000"/>
                  </a:schemeClr>
                </a:solidFill>
                <a:latin typeface="YS Text Light"/>
              </a:rPr>
              <a:t>Студкемп по компьютерному зрению и автономному транспорту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527" name="Прямая соединительная линия 14"/>
          <p:cNvCxnSpPr/>
          <p:nvPr/>
        </p:nvCxnSpPr>
        <p:spPr>
          <a:xfrm>
            <a:off x="9924840" y="297000"/>
            <a:ext cx="2160" cy="5619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sp>
        <p:nvSpPr>
          <p:cNvPr id="528" name=""/>
          <p:cNvSpPr/>
          <p:nvPr/>
        </p:nvSpPr>
        <p:spPr>
          <a:xfrm>
            <a:off x="1620000" y="5940000"/>
            <a:ext cx="6402960" cy="6620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</a:pPr>
            <a:r>
              <a:rPr b="0" lang="ru-RU" sz="1000" spc="-1" strike="noStrike">
                <a:solidFill>
                  <a:srgbClr val="000000"/>
                </a:solidFill>
                <a:latin typeface="Courier New"/>
              </a:rPr>
              <a:t>Базовое описание: the front view of a black suv parked on a street at night</a:t>
            </a:r>
            <a:endParaRPr b="0" lang="ru-RU" sz="10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ru-RU" sz="1000" spc="-1" strike="noStrike">
                <a:solidFill>
                  <a:srgbClr val="000000"/>
                </a:solidFill>
                <a:latin typeface="Courier New"/>
              </a:rPr>
              <a:t>Подробное описание: the front view of a black suv parked in a parking lot at night</a:t>
            </a:r>
            <a:endParaRPr b="0" lang="ru-RU" sz="10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ru-RU" sz="1000" spc="-1" strike="noStrike">
                <a:solidFill>
                  <a:srgbClr val="000000"/>
                </a:solidFill>
                <a:latin typeface="Courier New"/>
              </a:rPr>
              <a:t>Альтернативное описание: the front end of a black car</a:t>
            </a:r>
            <a:endParaRPr b="0" lang="ru-RU" sz="10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ru-RU" sz="1000" spc="-1" strike="noStrike">
                <a:solidFill>
                  <a:srgbClr val="000000"/>
                </a:solidFill>
                <a:latin typeface="Courier New"/>
              </a:rPr>
              <a:t>Описание по вопросу (VQA): street</a:t>
            </a:r>
            <a:endParaRPr b="0" lang="ru-RU" sz="10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29" name="" descr=""/>
          <p:cNvPicPr/>
          <p:nvPr/>
        </p:nvPicPr>
        <p:blipFill>
          <a:blip r:embed="rId3"/>
          <a:stretch/>
        </p:blipFill>
        <p:spPr>
          <a:xfrm>
            <a:off x="8280000" y="-89640"/>
            <a:ext cx="3958200" cy="7038720"/>
          </a:xfrm>
          <a:prstGeom prst="rect">
            <a:avLst/>
          </a:prstGeom>
          <a:ln w="0">
            <a:noFill/>
          </a:ln>
        </p:spPr>
      </p:pic>
      <p:sp>
        <p:nvSpPr>
          <p:cNvPr id="530" name="PlaceHolder 10"/>
          <p:cNvSpPr txBox="1"/>
          <p:nvPr/>
        </p:nvSpPr>
        <p:spPr>
          <a:xfrm>
            <a:off x="11228400" y="6609960"/>
            <a:ext cx="656280" cy="151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algn="r" defTabSz="914400">
              <a:lnSpc>
                <a:spcPct val="100000"/>
              </a:lnSpc>
              <a:tabLst>
                <a:tab algn="l" pos="0"/>
              </a:tabLst>
            </a:pPr>
            <a:fld id="{BDE7FBCA-411B-49A4-B210-540A4DBD9FAF}" type="slidenum">
              <a:rPr b="0" lang="ru-RU" sz="1000" spc="-1" strike="noStrike">
                <a:solidFill>
                  <a:srgbClr val="ffffff"/>
                </a:solidFill>
                <a:latin typeface="YS Text Light"/>
              </a:rPr>
              <a:t>&lt;номер&gt;</a:t>
            </a:fld>
            <a:endParaRPr b="0" lang="ru-RU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7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1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r:id="rId1" spid="">
              <p:embed/>
              <p:pic>
                <p:nvPicPr>
                  <p:cNvPr id="532" name="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533" name="PlaceHolder 23"/>
          <p:cNvSpPr/>
          <p:nvPr/>
        </p:nvSpPr>
        <p:spPr>
          <a:xfrm>
            <a:off x="11228040" y="6609600"/>
            <a:ext cx="656280" cy="151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914400">
              <a:lnSpc>
                <a:spcPct val="100000"/>
              </a:lnSpc>
              <a:tabLst>
                <a:tab algn="l" pos="0"/>
              </a:tabLst>
            </a:pPr>
            <a:fld id="{C912AC38-F7C3-446D-B06B-E2D080F6B52E}" type="slidenum">
              <a:rPr b="0" lang="ru-RU" sz="1000" spc="-1" strike="noStrike">
                <a:solidFill>
                  <a:schemeClr val="lt1"/>
                </a:solidFill>
                <a:latin typeface="YS Text Light"/>
              </a:rPr>
              <a:t>&lt;номер&gt;</a:t>
            </a:fld>
            <a:endParaRPr b="0" lang="ru-RU" sz="1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4" name="PlaceHolder 24"/>
          <p:cNvSpPr/>
          <p:nvPr/>
        </p:nvSpPr>
        <p:spPr>
          <a:xfrm>
            <a:off x="259200" y="2061720"/>
            <a:ext cx="4779000" cy="31564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marL="177840" indent="-177840" defTabSz="914400">
              <a:lnSpc>
                <a:spcPct val="90000"/>
              </a:lnSpc>
              <a:spcAft>
                <a:spcPts val="1199"/>
              </a:spcAft>
              <a:buClr>
                <a:srgbClr val="313131"/>
              </a:buClr>
              <a:buFont typeface="Arial"/>
              <a:buChar char="•"/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Получает на вход все текстовые признаки, которые мы получили на прошлых этапах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marL="177840" indent="-177840" defTabSz="914400">
              <a:lnSpc>
                <a:spcPct val="90000"/>
              </a:lnSpc>
              <a:spcAft>
                <a:spcPts val="1199"/>
              </a:spcAft>
              <a:buClr>
                <a:srgbClr val="313131"/>
              </a:buClr>
              <a:buFont typeface="Arial"/>
              <a:buChar char="•"/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Генерирует описание картинки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90000"/>
              </a:lnSpc>
              <a:spcAft>
                <a:spcPts val="1199"/>
              </a:spcAft>
            </a:pP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5" name="PlaceHolder 25"/>
          <p:cNvSpPr/>
          <p:nvPr/>
        </p:nvSpPr>
        <p:spPr>
          <a:xfrm>
            <a:off x="307800" y="297000"/>
            <a:ext cx="8633880" cy="11113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80000"/>
              </a:lnSpc>
              <a:tabLst>
                <a:tab algn="l" pos="0"/>
              </a:tabLst>
            </a:pPr>
            <a:r>
              <a:rPr b="0" lang="ru-RU" sz="4500" spc="-1" strike="noStrike">
                <a:solidFill>
                  <a:schemeClr val="lt1"/>
                </a:solidFill>
                <a:latin typeface="YS Text Regular"/>
              </a:rPr>
              <a:t>Мультимодальная модель</a:t>
            </a:r>
            <a:endParaRPr b="0" lang="ru-RU" sz="45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6" name="PlaceHolder 26"/>
          <p:cNvSpPr/>
          <p:nvPr/>
        </p:nvSpPr>
        <p:spPr>
          <a:xfrm>
            <a:off x="10121760" y="297000"/>
            <a:ext cx="1767960" cy="5583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ctr">
            <a:noAutofit/>
          </a:bodyPr>
          <a:p>
            <a:pPr defTabSz="914400">
              <a:lnSpc>
                <a:spcPct val="9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ru-RU" sz="1400" spc="-1" strike="noStrike">
                <a:solidFill>
                  <a:schemeClr val="lt1">
                    <a:lumMod val="50000"/>
                    <a:lumOff val="50000"/>
                  </a:schemeClr>
                </a:solidFill>
                <a:latin typeface="YS Text Light"/>
              </a:rPr>
              <a:t>Студкемп по компьютерному зрению и автономному транспорту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537" name="Прямая соединительная линия 17"/>
          <p:cNvCxnSpPr/>
          <p:nvPr/>
        </p:nvCxnSpPr>
        <p:spPr>
          <a:xfrm>
            <a:off x="9924840" y="296640"/>
            <a:ext cx="2160" cy="5619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sp>
        <p:nvSpPr>
          <p:cNvPr id="538" name=""/>
          <p:cNvSpPr/>
          <p:nvPr/>
        </p:nvSpPr>
        <p:spPr>
          <a:xfrm>
            <a:off x="5220000" y="6265800"/>
            <a:ext cx="3778920" cy="5731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</a:pPr>
            <a:r>
              <a:rPr b="0" lang="ru-RU" sz="1400" spc="-1" strike="noStrike">
                <a:solidFill>
                  <a:srgbClr val="808080"/>
                </a:solidFill>
                <a:latin typeface="ys text light"/>
              </a:rPr>
              <a:t>«a car parked on a side of the road»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39" name="" descr=""/>
          <p:cNvPicPr/>
          <p:nvPr/>
        </p:nvPicPr>
        <p:blipFill>
          <a:blip r:embed="rId3"/>
          <a:stretch/>
        </p:blipFill>
        <p:spPr>
          <a:xfrm>
            <a:off x="8382960" y="-72000"/>
            <a:ext cx="3855960" cy="7090920"/>
          </a:xfrm>
          <a:prstGeom prst="rect">
            <a:avLst/>
          </a:prstGeom>
          <a:ln w="0">
            <a:noFill/>
          </a:ln>
        </p:spPr>
      </p:pic>
      <p:sp>
        <p:nvSpPr>
          <p:cNvPr id="540" name="PlaceHolder 11"/>
          <p:cNvSpPr txBox="1"/>
          <p:nvPr/>
        </p:nvSpPr>
        <p:spPr>
          <a:xfrm>
            <a:off x="11228400" y="6609960"/>
            <a:ext cx="656280" cy="151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algn="r" defTabSz="914400">
              <a:lnSpc>
                <a:spcPct val="100000"/>
              </a:lnSpc>
              <a:tabLst>
                <a:tab algn="l" pos="0"/>
              </a:tabLst>
            </a:pPr>
            <a:fld id="{73345F13-3F0E-49FE-827A-418D25302057}" type="slidenum">
              <a:rPr b="0" lang="ru-RU" sz="1000" spc="-1" strike="noStrike">
                <a:solidFill>
                  <a:srgbClr val="ffffff"/>
                </a:solidFill>
                <a:latin typeface="YS Text Light"/>
              </a:rPr>
              <a:t>&lt;номер&gt;</a:t>
            </a:fld>
            <a:endParaRPr b="0" lang="ru-RU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8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1" name=""/>
          <p:cNvSpPr/>
          <p:nvPr/>
        </p:nvSpPr>
        <p:spPr>
          <a:xfrm>
            <a:off x="324000" y="180000"/>
            <a:ext cx="6659280" cy="1439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</a:pPr>
            <a:r>
              <a:rPr b="0" lang="ru-RU" sz="4800" spc="-1" strike="noStrike">
                <a:solidFill>
                  <a:srgbClr val="000000"/>
                </a:solidFill>
                <a:latin typeface="YS Text Regular"/>
              </a:rPr>
              <a:t>Эксперименты</a:t>
            </a:r>
            <a:endParaRPr b="0" lang="ru-RU" sz="4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2" name=""/>
          <p:cNvSpPr/>
          <p:nvPr/>
        </p:nvSpPr>
        <p:spPr>
          <a:xfrm>
            <a:off x="360000" y="2520000"/>
            <a:ext cx="9539280" cy="2159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</a:pPr>
            <a:r>
              <a:rPr b="0" lang="ru-RU" sz="2100" spc="-1" strike="noStrike">
                <a:solidFill>
                  <a:srgbClr val="000000"/>
                </a:solidFill>
                <a:latin typeface="ys text light"/>
              </a:rPr>
              <a:t>То, что не вошло в итоговый проект, но заслуживает упоминания</a:t>
            </a:r>
            <a:endParaRPr b="0" lang="ru-RU" sz="21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3" name="PlaceHolder 8"/>
          <p:cNvSpPr txBox="1"/>
          <p:nvPr/>
        </p:nvSpPr>
        <p:spPr>
          <a:xfrm>
            <a:off x="11228400" y="6609960"/>
            <a:ext cx="656280" cy="151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algn="r" defTabSz="914400">
              <a:lnSpc>
                <a:spcPct val="100000"/>
              </a:lnSpc>
              <a:tabLst>
                <a:tab algn="l" pos="0"/>
              </a:tabLst>
            </a:pPr>
            <a:fld id="{6DD9B1FE-3441-410A-806C-59CDDBE3075B}" type="slidenum">
              <a:rPr b="0" lang="ru-RU" sz="1000" spc="-1" strike="noStrike">
                <a:solidFill>
                  <a:schemeClr val="lt1"/>
                </a:solidFill>
                <a:latin typeface="YS Text Light"/>
              </a:rPr>
              <a:t>&lt;номер&gt;</a:t>
            </a:fld>
            <a:endParaRPr b="0" lang="ru-RU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9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4" name="think-cell data - do not delete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1" spid="">
              <p:embed/>
              <p:pic>
                <p:nvPicPr>
                  <p:cNvPr id="545" name="think-cell data - do not delete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546" name="Прямоугольник 3"/>
          <p:cNvSpPr/>
          <p:nvPr/>
        </p:nvSpPr>
        <p:spPr>
          <a:xfrm>
            <a:off x="361800" y="5915520"/>
            <a:ext cx="6398640" cy="638640"/>
          </a:xfrm>
          <a:prstGeom prst="rect">
            <a:avLst/>
          </a:prstGeom>
          <a:solidFill>
            <a:srgbClr val="ff37b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547" name="PlaceHolder 1"/>
          <p:cNvSpPr>
            <a:spLocks noGrp="1"/>
          </p:cNvSpPr>
          <p:nvPr>
            <p:ph type="title"/>
          </p:nvPr>
        </p:nvSpPr>
        <p:spPr>
          <a:xfrm>
            <a:off x="258840" y="5774760"/>
            <a:ext cx="9664200" cy="10810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p>
            <a:pPr indent="0" defTabSz="914400">
              <a:lnSpc>
                <a:spcPct val="70000"/>
              </a:lnSpc>
              <a:buNone/>
              <a:tabLst>
                <a:tab algn="l" pos="0"/>
              </a:tabLst>
            </a:pPr>
            <a:r>
              <a:rPr b="0" lang="ru-RU" sz="9600" spc="-1" strike="noStrike">
                <a:solidFill>
                  <a:schemeClr val="lt1"/>
                </a:solidFill>
                <a:latin typeface="YS Text Regular"/>
              </a:rPr>
              <a:t>Результаты</a:t>
            </a:r>
            <a:endParaRPr b="0" lang="ru-RU" sz="96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8" name="PlaceHolder 2"/>
          <p:cNvSpPr>
            <a:spLocks noGrp="1"/>
          </p:cNvSpPr>
          <p:nvPr>
            <p:ph/>
          </p:nvPr>
        </p:nvSpPr>
        <p:spPr>
          <a:xfrm>
            <a:off x="299880" y="150120"/>
            <a:ext cx="2441160" cy="13273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p>
            <a:pPr indent="0" defTabSz="914400">
              <a:lnSpc>
                <a:spcPct val="9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ru-ME" sz="9600" spc="-1" strike="noStrike">
                <a:solidFill>
                  <a:schemeClr val="lt1"/>
                </a:solidFill>
                <a:latin typeface="YS Text Regular"/>
              </a:rPr>
              <a:t>0</a:t>
            </a:r>
            <a:r>
              <a:rPr b="0" lang="ru-RU" sz="9600" spc="-1" strike="noStrike">
                <a:solidFill>
                  <a:schemeClr val="lt1"/>
                </a:solidFill>
                <a:latin typeface="YS Text Regular"/>
              </a:rPr>
              <a:t>4</a:t>
            </a:r>
            <a:endParaRPr b="0" lang="ru-RU" sz="96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dad06e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7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1" spid="">
              <p:embed/>
              <p:pic>
                <p:nvPicPr>
                  <p:cNvPr id="408" name="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409" name="Прямоугольник 3"/>
          <p:cNvSpPr/>
          <p:nvPr/>
        </p:nvSpPr>
        <p:spPr>
          <a:xfrm>
            <a:off x="357120" y="5914440"/>
            <a:ext cx="4921200" cy="638640"/>
          </a:xfrm>
          <a:prstGeom prst="rect">
            <a:avLst/>
          </a:prstGeom>
          <a:solidFill>
            <a:srgbClr val="ff37b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410" name="PlaceHolder 1"/>
          <p:cNvSpPr>
            <a:spLocks noGrp="1"/>
          </p:cNvSpPr>
          <p:nvPr>
            <p:ph type="title"/>
          </p:nvPr>
        </p:nvSpPr>
        <p:spPr>
          <a:xfrm>
            <a:off x="258120" y="4740840"/>
            <a:ext cx="9664920" cy="21150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p>
            <a:pPr indent="0" defTabSz="914400">
              <a:lnSpc>
                <a:spcPct val="70000"/>
              </a:lnSpc>
              <a:buNone/>
              <a:tabLst>
                <a:tab algn="l" pos="0"/>
              </a:tabLst>
            </a:pPr>
            <a:r>
              <a:rPr b="0" lang="ru-RU" sz="9600" spc="-1" strike="noStrike">
                <a:solidFill>
                  <a:schemeClr val="lt1"/>
                </a:solidFill>
                <a:latin typeface="YS Text Regular"/>
              </a:rPr>
              <a:t>Представление команды</a:t>
            </a:r>
            <a:endParaRPr b="0" lang="ru-RU" sz="96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1" name="PlaceHolder 2"/>
          <p:cNvSpPr>
            <a:spLocks noGrp="1"/>
          </p:cNvSpPr>
          <p:nvPr>
            <p:ph/>
          </p:nvPr>
        </p:nvSpPr>
        <p:spPr>
          <a:xfrm>
            <a:off x="299880" y="150120"/>
            <a:ext cx="2441160" cy="13273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p>
            <a:pPr indent="0" defTabSz="914400">
              <a:lnSpc>
                <a:spcPct val="9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ru-ME" sz="9600" spc="-1" strike="noStrike">
                <a:solidFill>
                  <a:schemeClr val="lt1"/>
                </a:solidFill>
                <a:latin typeface="YS Text Regular"/>
              </a:rPr>
              <a:t>0</a:t>
            </a:r>
            <a:r>
              <a:rPr b="0" lang="ru-RU" sz="9600" spc="-1" strike="noStrike">
                <a:solidFill>
                  <a:schemeClr val="lt1"/>
                </a:solidFill>
                <a:latin typeface="YS Text Regular"/>
              </a:rPr>
              <a:t>1</a:t>
            </a:r>
            <a:endParaRPr b="0" lang="ru-RU" sz="96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0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9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r:id="rId1" spid="">
              <p:embed/>
              <p:pic>
                <p:nvPicPr>
                  <p:cNvPr id="550" name="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551" name="PlaceHolder 21"/>
          <p:cNvSpPr/>
          <p:nvPr/>
        </p:nvSpPr>
        <p:spPr>
          <a:xfrm>
            <a:off x="11228040" y="6609600"/>
            <a:ext cx="656280" cy="151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914400">
              <a:lnSpc>
                <a:spcPct val="100000"/>
              </a:lnSpc>
              <a:tabLst>
                <a:tab algn="l" pos="0"/>
              </a:tabLst>
            </a:pPr>
            <a:fld id="{EFFF20BD-3DCF-40AA-910A-8DCB90B630EC}" type="slidenum">
              <a:rPr b="0" lang="ru-RU" sz="1000" spc="-1" strike="noStrike">
                <a:solidFill>
                  <a:schemeClr val="lt1"/>
                </a:solidFill>
                <a:latin typeface="YS Text Light"/>
              </a:rPr>
              <a:t>&lt;номер&gt;</a:t>
            </a:fld>
            <a:endParaRPr b="0" lang="ru-RU" sz="1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2" name="PlaceHolder 27"/>
          <p:cNvSpPr/>
          <p:nvPr/>
        </p:nvSpPr>
        <p:spPr>
          <a:xfrm>
            <a:off x="308160" y="1162440"/>
            <a:ext cx="4779000" cy="31564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marL="177840" indent="-177840" defTabSz="914400">
              <a:lnSpc>
                <a:spcPct val="90000"/>
              </a:lnSpc>
              <a:spcAft>
                <a:spcPts val="1199"/>
              </a:spcAft>
              <a:buClr>
                <a:srgbClr val="313131"/>
              </a:buClr>
              <a:buFont typeface="Arial"/>
              <a:buChar char="•"/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У нас получилось выполнить поставленную задачу. Для каждой валидной картинки успешно генерируется описание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marL="177840" indent="-177840" defTabSz="914400">
              <a:lnSpc>
                <a:spcPct val="90000"/>
              </a:lnSpc>
              <a:spcAft>
                <a:spcPts val="1199"/>
              </a:spcAft>
              <a:buClr>
                <a:srgbClr val="313131"/>
              </a:buClr>
              <a:buFont typeface="Arial"/>
              <a:buChar char="•"/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В нашем датасете, к сожалению, даже человеческий глаз зачастую не может определить точное описание картинки: зачастую небо и автомобиль занимают большую часть фото 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3" name="PlaceHolder 28"/>
          <p:cNvSpPr/>
          <p:nvPr/>
        </p:nvSpPr>
        <p:spPr>
          <a:xfrm>
            <a:off x="10121760" y="297000"/>
            <a:ext cx="1767960" cy="5583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ctr">
            <a:noAutofit/>
          </a:bodyPr>
          <a:p>
            <a:pPr defTabSz="914400">
              <a:lnSpc>
                <a:spcPct val="90000"/>
              </a:lnSpc>
              <a:spcBef>
                <a:spcPts val="1001"/>
              </a:spcBef>
              <a:tabLst>
                <a:tab algn="l" pos="0"/>
              </a:tabLst>
            </a:pPr>
            <a:r>
              <a:rPr b="0" lang="ru-RU" sz="1400" spc="-1" strike="noStrike">
                <a:solidFill>
                  <a:schemeClr val="lt1">
                    <a:lumMod val="50000"/>
                    <a:lumOff val="50000"/>
                  </a:schemeClr>
                </a:solidFill>
                <a:latin typeface="YS Text Light"/>
              </a:rPr>
              <a:t>Студкемп по компьютерному зрению и автономному транспорту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554" name="Прямая соединительная линия 13"/>
          <p:cNvCxnSpPr/>
          <p:nvPr/>
        </p:nvCxnSpPr>
        <p:spPr>
          <a:xfrm>
            <a:off x="9924840" y="296640"/>
            <a:ext cx="2160" cy="5619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  <p:sp>
        <p:nvSpPr>
          <p:cNvPr id="555" name=""/>
          <p:cNvSpPr/>
          <p:nvPr/>
        </p:nvSpPr>
        <p:spPr>
          <a:xfrm>
            <a:off x="180000" y="4860000"/>
            <a:ext cx="8098920" cy="15220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</a:pPr>
            <a:r>
              <a:rPr b="0" lang="ru-RU" sz="1000" spc="-1" strike="noStrike">
                <a:solidFill>
                  <a:srgbClr val="000000"/>
                </a:solidFill>
                <a:latin typeface="Courier New"/>
              </a:rPr>
              <a:t>{'Car': 0.34714019298553467, 'Wheel': 0.3243175148963928}</a:t>
            </a:r>
            <a:endParaRPr b="0" lang="ru-RU" sz="10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ru-RU" sz="1000" spc="-1" strike="noStrike">
                <a:solidFill>
                  <a:srgbClr val="000000"/>
                </a:solidFill>
                <a:latin typeface="Courier New"/>
              </a:rPr>
              <a:t>{'other': 0.08122928440570831, 'highway': 0.12126690149307251, 'residential': 0.8982969522476196, 'city street': 0.06356442719697952, 'parking lot': 0.7530761361122131, 'gas stations': 0.11552013456821442}</a:t>
            </a:r>
            <a:endParaRPr b="0" lang="ru-RU" sz="10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ru-RU" sz="1000" spc="-1" strike="noStrike">
                <a:solidFill>
                  <a:srgbClr val="000000"/>
                </a:solidFill>
                <a:latin typeface="Courier New"/>
              </a:rPr>
              <a:t>Базовое описание: a car parked in a parking lot</a:t>
            </a:r>
            <a:endParaRPr b="0" lang="ru-RU" sz="10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ru-RU" sz="1000" spc="-1" strike="noStrike">
                <a:solidFill>
                  <a:srgbClr val="000000"/>
                </a:solidFill>
                <a:latin typeface="Courier New"/>
              </a:rPr>
              <a:t>Подробное описание: a car parked in a parking lot with a parking meter on the side of the road and a parking meter on the other side of the road</a:t>
            </a:r>
            <a:endParaRPr b="0" lang="ru-RU" sz="10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ru-RU" sz="1000" spc="-1" strike="noStrike">
                <a:solidFill>
                  <a:srgbClr val="000000"/>
                </a:solidFill>
                <a:latin typeface="Courier New"/>
              </a:rPr>
              <a:t>Альтернативное описание: a parked vehicle in a parking lot</a:t>
            </a:r>
            <a:endParaRPr b="0" lang="ru-RU" sz="10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ru-RU" sz="1000" spc="-1" strike="noStrike">
                <a:solidFill>
                  <a:srgbClr val="000000"/>
                </a:solidFill>
                <a:latin typeface="Courier New"/>
              </a:rPr>
              <a:t>Описание по вопросу (VQA): parking lot</a:t>
            </a:r>
            <a:endParaRPr b="0" lang="ru-RU" sz="10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endParaRPr b="0" lang="ru-RU" sz="10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ru-RU" sz="1000" spc="-1" strike="noStrike">
                <a:solidFill>
                  <a:srgbClr val="000000"/>
                </a:solidFill>
                <a:latin typeface="Courier New"/>
                <a:ea typeface="Courier New"/>
              </a:rPr>
              <a:t>Итоговое описание: a white van parked on a side of the road</a:t>
            </a:r>
            <a:endParaRPr b="0" lang="ru-RU" sz="10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56" name="" descr=""/>
          <p:cNvPicPr/>
          <p:nvPr/>
        </p:nvPicPr>
        <p:blipFill>
          <a:blip r:embed="rId3"/>
          <a:stretch/>
        </p:blipFill>
        <p:spPr>
          <a:xfrm>
            <a:off x="8371080" y="-180000"/>
            <a:ext cx="3855240" cy="7072200"/>
          </a:xfrm>
          <a:prstGeom prst="rect">
            <a:avLst/>
          </a:prstGeom>
          <a:ln w="0">
            <a:noFill/>
          </a:ln>
        </p:spPr>
      </p:pic>
      <p:sp>
        <p:nvSpPr>
          <p:cNvPr id="557" name="PlaceHolder 19"/>
          <p:cNvSpPr txBox="1"/>
          <p:nvPr/>
        </p:nvSpPr>
        <p:spPr>
          <a:xfrm>
            <a:off x="11228400" y="6609960"/>
            <a:ext cx="656280" cy="151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algn="r" defTabSz="914400">
              <a:lnSpc>
                <a:spcPct val="100000"/>
              </a:lnSpc>
              <a:tabLst>
                <a:tab algn="l" pos="0"/>
              </a:tabLst>
            </a:pPr>
            <a:fld id="{F8CC6CB1-02AE-4495-B2C5-75C8861EB68B}" type="slidenum">
              <a:rPr b="0" lang="ru-RU" sz="1000" spc="-1" strike="noStrike">
                <a:solidFill>
                  <a:srgbClr val="ffffff"/>
                </a:solidFill>
                <a:latin typeface="YS Text Light"/>
              </a:rPr>
              <a:t>&lt;номер&gt;</a:t>
            </a:fld>
            <a:endParaRPr b="0" lang="ru-RU" sz="10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8" name="think-cell data - do not delete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1" spid="">
              <p:embed/>
              <p:pic>
                <p:nvPicPr>
                  <p:cNvPr id="559" name="think-cell data - do not delete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560" name="Прямоугольник 3"/>
          <p:cNvSpPr/>
          <p:nvPr/>
        </p:nvSpPr>
        <p:spPr>
          <a:xfrm>
            <a:off x="345960" y="5915520"/>
            <a:ext cx="3363840" cy="638640"/>
          </a:xfrm>
          <a:prstGeom prst="rect">
            <a:avLst/>
          </a:prstGeom>
          <a:solidFill>
            <a:srgbClr val="ff37b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561" name="PlaceHolder 1"/>
          <p:cNvSpPr>
            <a:spLocks noGrp="1"/>
          </p:cNvSpPr>
          <p:nvPr>
            <p:ph type="title"/>
          </p:nvPr>
        </p:nvSpPr>
        <p:spPr>
          <a:xfrm>
            <a:off x="258120" y="4740840"/>
            <a:ext cx="9664920" cy="21150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p>
            <a:pPr indent="0" defTabSz="914400">
              <a:lnSpc>
                <a:spcPct val="70000"/>
              </a:lnSpc>
              <a:buNone/>
              <a:tabLst>
                <a:tab algn="l" pos="0"/>
              </a:tabLst>
            </a:pPr>
            <a:r>
              <a:rPr b="0" lang="ru-RU" sz="9600" spc="-1" strike="noStrike">
                <a:solidFill>
                  <a:schemeClr val="lt1"/>
                </a:solidFill>
                <a:latin typeface="YS Text Regular"/>
              </a:rPr>
              <a:t>Дальнейшие планы на проект</a:t>
            </a:r>
            <a:endParaRPr b="0" lang="ru-RU" sz="96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2" name="PlaceHolder 2"/>
          <p:cNvSpPr>
            <a:spLocks noGrp="1"/>
          </p:cNvSpPr>
          <p:nvPr>
            <p:ph/>
          </p:nvPr>
        </p:nvSpPr>
        <p:spPr>
          <a:xfrm>
            <a:off x="299880" y="150120"/>
            <a:ext cx="2441160" cy="13273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p>
            <a:pPr indent="0" defTabSz="914400">
              <a:lnSpc>
                <a:spcPct val="9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ru-ME" sz="9600" spc="-1" strike="noStrike">
                <a:solidFill>
                  <a:schemeClr val="lt1"/>
                </a:solidFill>
                <a:latin typeface="YS Text Regular"/>
              </a:rPr>
              <a:t>0</a:t>
            </a:r>
            <a:r>
              <a:rPr b="0" lang="ru-RU" sz="9600" spc="-1" strike="noStrike">
                <a:solidFill>
                  <a:schemeClr val="lt1"/>
                </a:solidFill>
                <a:latin typeface="YS Text Regular"/>
              </a:rPr>
              <a:t>5</a:t>
            </a:r>
            <a:endParaRPr b="0" lang="ru-RU" sz="96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3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1" spid="">
              <p:embed/>
              <p:pic>
                <p:nvPicPr>
                  <p:cNvPr id="564" name="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565" name="PlaceHolder 1"/>
          <p:cNvSpPr>
            <a:spLocks noGrp="1"/>
          </p:cNvSpPr>
          <p:nvPr>
            <p:ph/>
          </p:nvPr>
        </p:nvSpPr>
        <p:spPr>
          <a:xfrm>
            <a:off x="307800" y="1474560"/>
            <a:ext cx="5690520" cy="4463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432000" indent="0">
              <a:lnSpc>
                <a:spcPct val="90000"/>
              </a:lnSpc>
              <a:spcBef>
                <a:spcPts val="1417"/>
              </a:spcBef>
              <a:buNone/>
              <a:tabLst>
                <a:tab algn="l" pos="0"/>
              </a:tabLst>
            </a:pPr>
            <a:endParaRPr b="0" lang="ru-RU" sz="2100" spc="-1" strike="noStrike">
              <a:solidFill>
                <a:srgbClr val="000000"/>
              </a:solidFill>
              <a:latin typeface="Arial"/>
            </a:endParaRPr>
          </a:p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algn="l" pos="0"/>
              </a:tabLst>
            </a:pPr>
            <a:r>
              <a:rPr b="0" lang="ru-RU" sz="2100" spc="-1" strike="noStrike">
                <a:solidFill>
                  <a:schemeClr val="lt1"/>
                </a:solidFill>
                <a:latin typeface="YS Text Light"/>
              </a:rPr>
              <a:t>Улучшить качество моделей</a:t>
            </a:r>
            <a:endParaRPr b="0" lang="ru-RU" sz="2100" spc="-1" strike="noStrike">
              <a:solidFill>
                <a:srgbClr val="000000"/>
              </a:solidFill>
              <a:latin typeface="Arial"/>
            </a:endParaRPr>
          </a:p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algn="l" pos="0"/>
              </a:tabLst>
            </a:pPr>
            <a:r>
              <a:rPr b="0" lang="ru-RU" sz="2100" spc="-1" strike="noStrike">
                <a:solidFill>
                  <a:schemeClr val="lt1"/>
                </a:solidFill>
                <a:latin typeface="YS Text Light"/>
              </a:rPr>
              <a:t>Интегрировать в бизнес-процесс</a:t>
            </a:r>
            <a:endParaRPr b="0" lang="ru-RU" sz="2100" spc="-1" strike="noStrike">
              <a:solidFill>
                <a:srgbClr val="000000"/>
              </a:solidFill>
              <a:latin typeface="Arial"/>
            </a:endParaRPr>
          </a:p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algn="l" pos="0"/>
              </a:tabLst>
            </a:pPr>
            <a:r>
              <a:rPr b="0" lang="ru-RU" sz="2100" spc="-1" strike="noStrike">
                <a:solidFill>
                  <a:schemeClr val="lt1"/>
                </a:solidFill>
                <a:latin typeface="YS Text Light"/>
              </a:rPr>
              <a:t>Разработать метрики для отслеживания полезности описаний в реальных сценариях</a:t>
            </a:r>
            <a:endParaRPr b="0" lang="ru-RU" sz="2100" spc="-1" strike="noStrike">
              <a:solidFill>
                <a:srgbClr val="000000"/>
              </a:solidFill>
              <a:latin typeface="Arial"/>
            </a:endParaRPr>
          </a:p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algn="l" pos="0"/>
              </a:tabLst>
            </a:pPr>
            <a:r>
              <a:rPr b="0" lang="ru-RU" sz="2100" spc="-1" strike="noStrike">
                <a:solidFill>
                  <a:schemeClr val="lt1"/>
                </a:solidFill>
                <a:latin typeface="YS Text Light"/>
              </a:rPr>
              <a:t>Регулярно обновлять датасет новыми фотографиями и дообучать модель</a:t>
            </a:r>
            <a:endParaRPr b="0" lang="ru-RU" sz="21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6" name="PlaceHolder 2"/>
          <p:cNvSpPr>
            <a:spLocks noGrp="1"/>
          </p:cNvSpPr>
          <p:nvPr>
            <p:ph type="sldNum" idx="22"/>
          </p:nvPr>
        </p:nvSpPr>
        <p:spPr>
          <a:xfrm>
            <a:off x="11228040" y="6609600"/>
            <a:ext cx="656280" cy="151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r" defTabSz="914400">
              <a:lnSpc>
                <a:spcPct val="100000"/>
              </a:lnSpc>
              <a:buNone/>
              <a:tabLst>
                <a:tab algn="l" pos="0"/>
              </a:tabLst>
              <a:defRPr b="0" lang="ru-RU" sz="1000" spc="-1" strike="noStrike">
                <a:solidFill>
                  <a:schemeClr val="lt1"/>
                </a:solidFill>
                <a:latin typeface="YS Text Light"/>
              </a:defRPr>
            </a:lvl1pPr>
          </a:lstStyle>
          <a:p>
            <a:pPr indent="0" algn="r" defTabSz="914400">
              <a:lnSpc>
                <a:spcPct val="100000"/>
              </a:lnSpc>
              <a:buNone/>
              <a:tabLst>
                <a:tab algn="l" pos="0"/>
              </a:tabLst>
            </a:pPr>
            <a:fld id="{1F3DEA2B-AEA3-4812-B5BE-6BA80B31BB27}" type="slidenum">
              <a:rPr b="0" lang="ru-RU" sz="1000" spc="-1" strike="noStrike">
                <a:solidFill>
                  <a:schemeClr val="lt1"/>
                </a:solidFill>
                <a:latin typeface="YS Text Light"/>
              </a:rPr>
              <a:t>&lt;номер&gt;</a:t>
            </a:fld>
            <a:endParaRPr b="0" lang="ru-RU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567" name="PlaceHolder 3"/>
          <p:cNvSpPr>
            <a:spLocks noGrp="1"/>
          </p:cNvSpPr>
          <p:nvPr>
            <p:ph/>
          </p:nvPr>
        </p:nvSpPr>
        <p:spPr>
          <a:xfrm>
            <a:off x="10121760" y="297000"/>
            <a:ext cx="1767960" cy="5583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9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chemeClr val="lt1">
                    <a:lumMod val="50000"/>
                    <a:lumOff val="50000"/>
                  </a:schemeClr>
                </a:solidFill>
                <a:latin typeface="YS Text Light"/>
              </a:rPr>
              <a:t>Студкемп по компьютерному зрению и автономному транспорту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568" name="Прямая соединительная линия 4"/>
          <p:cNvCxnSpPr/>
          <p:nvPr/>
        </p:nvCxnSpPr>
        <p:spPr>
          <a:xfrm>
            <a:off x="9924840" y="296640"/>
            <a:ext cx="2160" cy="5619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9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r:id="rId1" spid="">
              <p:embed/>
              <p:pic>
                <p:nvPicPr>
                  <p:cNvPr id="570" name="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571" name="Прямоугольник 5"/>
          <p:cNvSpPr/>
          <p:nvPr/>
        </p:nvSpPr>
        <p:spPr>
          <a:xfrm>
            <a:off x="299880" y="547560"/>
            <a:ext cx="3885840" cy="5234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572" name="PlaceHolder 1"/>
          <p:cNvSpPr>
            <a:spLocks noGrp="1"/>
          </p:cNvSpPr>
          <p:nvPr>
            <p:ph type="title"/>
          </p:nvPr>
        </p:nvSpPr>
        <p:spPr>
          <a:xfrm>
            <a:off x="258840" y="447840"/>
            <a:ext cx="6152400" cy="878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defTabSz="914400">
              <a:lnSpc>
                <a:spcPct val="70000"/>
              </a:lnSpc>
              <a:buNone/>
              <a:tabLst>
                <a:tab algn="l" pos="0"/>
              </a:tabLst>
            </a:pPr>
            <a:r>
              <a:rPr b="0" lang="ru-ME" sz="7800" spc="-1" strike="noStrike">
                <a:solidFill>
                  <a:schemeClr val="lt1"/>
                </a:solidFill>
                <a:latin typeface="YS Text Regular"/>
              </a:rPr>
              <a:t>Спасибо!</a:t>
            </a:r>
            <a:endParaRPr b="0" lang="ru-RU" sz="7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3" name="PlaceHolder 2"/>
          <p:cNvSpPr>
            <a:spLocks noGrp="1"/>
          </p:cNvSpPr>
          <p:nvPr>
            <p:ph/>
          </p:nvPr>
        </p:nvSpPr>
        <p:spPr>
          <a:xfrm>
            <a:off x="312480" y="5576040"/>
            <a:ext cx="3466440" cy="982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defTabSz="914400">
              <a:lnSpc>
                <a:spcPct val="90000"/>
              </a:lnSpc>
              <a:spcAft>
                <a:spcPts val="1199"/>
              </a:spcAft>
              <a:buNone/>
              <a:tabLst>
                <a:tab algn="l" pos="0"/>
              </a:tabLst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Смоляр Родион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indent="0" defTabSz="914400">
              <a:lnSpc>
                <a:spcPct val="90000"/>
              </a:lnSpc>
              <a:spcAft>
                <a:spcPts val="1199"/>
              </a:spcAft>
              <a:buNone/>
              <a:tabLst>
                <a:tab algn="l" pos="0"/>
              </a:tabLst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Бирюков Григорий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indent="0" defTabSz="914400">
              <a:lnSpc>
                <a:spcPct val="90000"/>
              </a:lnSpc>
              <a:spcAft>
                <a:spcPts val="1199"/>
              </a:spcAft>
              <a:buNone/>
              <a:tabLst>
                <a:tab algn="l" pos="0"/>
              </a:tabLst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Ментор: Ковалева Маргарита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4" name="PlaceHolder 3"/>
          <p:cNvSpPr>
            <a:spLocks noGrp="1"/>
          </p:cNvSpPr>
          <p:nvPr>
            <p:ph/>
          </p:nvPr>
        </p:nvSpPr>
        <p:spPr>
          <a:xfrm>
            <a:off x="7392960" y="5576040"/>
            <a:ext cx="4496760" cy="689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defTabSz="914400">
              <a:lnSpc>
                <a:spcPct val="90000"/>
              </a:lnSpc>
              <a:spcAft>
                <a:spcPts val="1199"/>
              </a:spcAft>
              <a:buNone/>
              <a:tabLst>
                <a:tab algn="l" pos="0"/>
              </a:tabLst>
            </a:pPr>
            <a:r>
              <a:rPr b="0" lang="ru-ME" sz="1800" spc="-1" strike="noStrike">
                <a:solidFill>
                  <a:schemeClr val="lt1"/>
                </a:solidFill>
                <a:latin typeface="YS Text Light"/>
              </a:rPr>
              <a:t>Студкемп по компьютерному зрению и автономному транспорту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5" name="PlaceHolder 4"/>
          <p:cNvSpPr>
            <a:spLocks noGrp="1"/>
          </p:cNvSpPr>
          <p:nvPr>
            <p:ph/>
          </p:nvPr>
        </p:nvSpPr>
        <p:spPr>
          <a:xfrm>
            <a:off x="3852000" y="5576040"/>
            <a:ext cx="3247560" cy="982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defTabSz="914400">
              <a:lnSpc>
                <a:spcPct val="90000"/>
              </a:lnSpc>
              <a:spcAft>
                <a:spcPts val="1199"/>
              </a:spcAft>
              <a:buNone/>
              <a:tabLst>
                <a:tab algn="l" pos="0"/>
              </a:tabLst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Попов Артемий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indent="0" defTabSz="914400">
              <a:lnSpc>
                <a:spcPct val="90000"/>
              </a:lnSpc>
              <a:spcAft>
                <a:spcPts val="1199"/>
              </a:spcAft>
              <a:buNone/>
              <a:tabLst>
                <a:tab algn="l" pos="0"/>
              </a:tabLst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Зайцев Илья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2" name=""/>
          <p:cNvGraphicFramePr/>
          <p:nvPr/>
        </p:nvGraphicFramePr>
        <p:xfrm>
          <a:off x="1440" y="1800"/>
          <a:ext cx="360" cy="360"/>
        </p:xfrm>
        <a:graphic>
          <a:graphicData uri="http://schemas.openxmlformats.org/presentationml/2006/ole">
            <p:oleObj r:id="rId1" spid="">
              <p:embed/>
              <p:pic>
                <p:nvPicPr>
                  <p:cNvPr id="413" name="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80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414" name="PlaceHolder 12"/>
          <p:cNvSpPr/>
          <p:nvPr/>
        </p:nvSpPr>
        <p:spPr>
          <a:xfrm>
            <a:off x="11228040" y="6609960"/>
            <a:ext cx="656280" cy="151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914400">
              <a:lnSpc>
                <a:spcPct val="100000"/>
              </a:lnSpc>
              <a:tabLst>
                <a:tab algn="l" pos="0"/>
              </a:tabLst>
            </a:pPr>
            <a:fld id="{6B44E755-7369-4F57-9229-A2D562B34898}" type="slidenum">
              <a:rPr b="0" lang="ru-RU" sz="1000" spc="-1" strike="noStrike">
                <a:solidFill>
                  <a:schemeClr val="lt1"/>
                </a:solidFill>
                <a:latin typeface="YS Text Light"/>
              </a:rPr>
              <a:t>&lt;номер&gt;</a:t>
            </a:fld>
            <a:endParaRPr b="0" lang="ru-RU" sz="1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5" name="PlaceHolder 13"/>
          <p:cNvSpPr/>
          <p:nvPr/>
        </p:nvSpPr>
        <p:spPr>
          <a:xfrm>
            <a:off x="2024640" y="802080"/>
            <a:ext cx="3387240" cy="8164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ctr">
            <a:noAutofit/>
          </a:bodyPr>
          <a:p>
            <a:pPr defTabSz="914400">
              <a:lnSpc>
                <a:spcPct val="90000"/>
              </a:lnSpc>
              <a:spcAft>
                <a:spcPts val="1199"/>
              </a:spcAft>
              <a:tabLst>
                <a:tab algn="l" pos="0"/>
              </a:tabLst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Смоляр Родион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90000"/>
              </a:lnSpc>
              <a:spcAft>
                <a:spcPts val="1199"/>
              </a:spcAft>
              <a:tabLst>
                <a:tab algn="l" pos="0"/>
              </a:tabLst>
            </a:pPr>
            <a:r>
              <a:rPr b="0" lang="ru-RU" sz="1200" spc="-1" strike="noStrike">
                <a:solidFill>
                  <a:schemeClr val="lt1"/>
                </a:solidFill>
                <a:latin typeface="YS Text Light"/>
              </a:rPr>
              <a:t>Ведущий разработчик</a:t>
            </a:r>
            <a:endParaRPr b="0" lang="ru-RU" sz="1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6" name="PlaceHolder 14"/>
          <p:cNvSpPr/>
          <p:nvPr/>
        </p:nvSpPr>
        <p:spPr>
          <a:xfrm>
            <a:off x="8597880" y="658080"/>
            <a:ext cx="3388680" cy="8164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ctr">
            <a:noAutofit/>
          </a:bodyPr>
          <a:p>
            <a:pPr defTabSz="914400">
              <a:lnSpc>
                <a:spcPct val="90000"/>
              </a:lnSpc>
              <a:spcAft>
                <a:spcPts val="1199"/>
              </a:spcAft>
              <a:tabLst>
                <a:tab algn="l" pos="0"/>
              </a:tabLst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Попов Артемий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90000"/>
              </a:lnSpc>
              <a:spcAft>
                <a:spcPts val="1199"/>
              </a:spcAft>
              <a:tabLst>
                <a:tab algn="l" pos="0"/>
              </a:tabLst>
            </a:pPr>
            <a:r>
              <a:rPr b="0" lang="ru-RU" sz="1200" spc="-1" strike="noStrike">
                <a:solidFill>
                  <a:schemeClr val="lt1"/>
                </a:solidFill>
                <a:latin typeface="YS Text Light"/>
              </a:rPr>
              <a:t>ML-инженер</a:t>
            </a:r>
            <a:endParaRPr b="0" lang="ru-RU" sz="1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7" name="PlaceHolder 15"/>
          <p:cNvSpPr/>
          <p:nvPr/>
        </p:nvSpPr>
        <p:spPr>
          <a:xfrm>
            <a:off x="2024640" y="2700000"/>
            <a:ext cx="3387240" cy="8164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ctr">
            <a:noAutofit/>
          </a:bodyPr>
          <a:p>
            <a:pPr defTabSz="914400">
              <a:lnSpc>
                <a:spcPct val="90000"/>
              </a:lnSpc>
              <a:spcAft>
                <a:spcPts val="1199"/>
              </a:spcAft>
              <a:tabLst>
                <a:tab algn="l" pos="0"/>
              </a:tabLst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Бирюков Григорий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90000"/>
              </a:lnSpc>
              <a:spcAft>
                <a:spcPts val="1199"/>
              </a:spcAft>
              <a:tabLst>
                <a:tab algn="l" pos="0"/>
              </a:tabLst>
            </a:pPr>
            <a:r>
              <a:rPr b="0" lang="ru-RU" sz="1200" spc="-1" strike="noStrike">
                <a:solidFill>
                  <a:schemeClr val="lt1"/>
                </a:solidFill>
                <a:latin typeface="YS Text Light"/>
              </a:rPr>
              <a:t>ML-инженер</a:t>
            </a:r>
            <a:endParaRPr b="0" lang="ru-RU" sz="1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8" name="PlaceHolder 16"/>
          <p:cNvSpPr/>
          <p:nvPr/>
        </p:nvSpPr>
        <p:spPr>
          <a:xfrm>
            <a:off x="8568000" y="2700000"/>
            <a:ext cx="3388680" cy="8164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ctr">
            <a:noAutofit/>
          </a:bodyPr>
          <a:p>
            <a:pPr defTabSz="914400">
              <a:lnSpc>
                <a:spcPct val="90000"/>
              </a:lnSpc>
              <a:spcAft>
                <a:spcPts val="1199"/>
              </a:spcAft>
              <a:tabLst>
                <a:tab algn="l" pos="0"/>
              </a:tabLst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Зайцев Илья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90000"/>
              </a:lnSpc>
              <a:spcAft>
                <a:spcPts val="1199"/>
              </a:spcAft>
              <a:tabLst>
                <a:tab algn="l" pos="0"/>
              </a:tabLst>
            </a:pPr>
            <a:r>
              <a:rPr b="0" lang="ru-RU" sz="1200" spc="-1" strike="noStrike">
                <a:solidFill>
                  <a:schemeClr val="lt1"/>
                </a:solidFill>
                <a:latin typeface="YS Text Light"/>
              </a:rPr>
              <a:t>ML-инженер</a:t>
            </a:r>
            <a:endParaRPr b="0" lang="ru-RU" sz="1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9" name="PlaceHolder 17"/>
          <p:cNvSpPr/>
          <p:nvPr/>
        </p:nvSpPr>
        <p:spPr>
          <a:xfrm>
            <a:off x="308160" y="160920"/>
            <a:ext cx="8630640" cy="5576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defTabSz="914400">
              <a:lnSpc>
                <a:spcPct val="80000"/>
              </a:lnSpc>
              <a:tabLst>
                <a:tab algn="l" pos="0"/>
              </a:tabLst>
            </a:pPr>
            <a:r>
              <a:rPr b="0" lang="ru-RU" sz="4000" spc="-1" strike="noStrike">
                <a:solidFill>
                  <a:schemeClr val="lt1"/>
                </a:solidFill>
                <a:latin typeface="YS Text Regular"/>
              </a:rPr>
              <a:t>Наша команда</a:t>
            </a:r>
            <a:endParaRPr b="0" lang="ru-RU" sz="40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420" name="" descr=""/>
          <p:cNvPicPr/>
          <p:nvPr/>
        </p:nvPicPr>
        <p:blipFill>
          <a:blip r:embed="rId3"/>
          <a:stretch/>
        </p:blipFill>
        <p:spPr>
          <a:xfrm>
            <a:off x="6917760" y="720000"/>
            <a:ext cx="1420560" cy="1798200"/>
          </a:xfrm>
          <a:prstGeom prst="rect">
            <a:avLst/>
          </a:prstGeom>
          <a:ln w="0">
            <a:noFill/>
          </a:ln>
        </p:spPr>
      </p:pic>
      <p:pic>
        <p:nvPicPr>
          <p:cNvPr id="421" name="" descr=""/>
          <p:cNvPicPr/>
          <p:nvPr/>
        </p:nvPicPr>
        <p:blipFill>
          <a:blip r:embed="rId4"/>
          <a:srcRect l="0" t="0" r="2091" b="6482"/>
          <a:stretch/>
        </p:blipFill>
        <p:spPr>
          <a:xfrm>
            <a:off x="297000" y="720000"/>
            <a:ext cx="1334880" cy="1700280"/>
          </a:xfrm>
          <a:prstGeom prst="rect">
            <a:avLst/>
          </a:prstGeom>
          <a:ln w="0">
            <a:noFill/>
          </a:ln>
        </p:spPr>
      </p:pic>
      <p:pic>
        <p:nvPicPr>
          <p:cNvPr id="422" name="" descr=""/>
          <p:cNvPicPr/>
          <p:nvPr/>
        </p:nvPicPr>
        <p:blipFill>
          <a:blip r:embed="rId5"/>
          <a:srcRect l="11395" t="0" r="20" b="17746"/>
          <a:stretch/>
        </p:blipFill>
        <p:spPr>
          <a:xfrm>
            <a:off x="6912000" y="2700000"/>
            <a:ext cx="1438200" cy="1798560"/>
          </a:xfrm>
          <a:prstGeom prst="rect">
            <a:avLst/>
          </a:prstGeom>
          <a:ln w="0">
            <a:noFill/>
          </a:ln>
        </p:spPr>
      </p:pic>
      <p:pic>
        <p:nvPicPr>
          <p:cNvPr id="423" name="" descr=""/>
          <p:cNvPicPr/>
          <p:nvPr/>
        </p:nvPicPr>
        <p:blipFill>
          <a:blip r:embed="rId6"/>
          <a:stretch/>
        </p:blipFill>
        <p:spPr>
          <a:xfrm>
            <a:off x="283680" y="2700000"/>
            <a:ext cx="1348200" cy="1798560"/>
          </a:xfrm>
          <a:prstGeom prst="rect">
            <a:avLst/>
          </a:prstGeom>
          <a:ln w="0">
            <a:noFill/>
          </a:ln>
        </p:spPr>
      </p:pic>
      <p:pic>
        <p:nvPicPr>
          <p:cNvPr id="424" name="" descr=""/>
          <p:cNvPicPr/>
          <p:nvPr/>
        </p:nvPicPr>
        <p:blipFill>
          <a:blip r:embed="rId7"/>
          <a:stretch/>
        </p:blipFill>
        <p:spPr>
          <a:xfrm>
            <a:off x="3960000" y="4680000"/>
            <a:ext cx="1628640" cy="1878120"/>
          </a:xfrm>
          <a:prstGeom prst="rect">
            <a:avLst/>
          </a:prstGeom>
          <a:ln w="0">
            <a:noFill/>
          </a:ln>
        </p:spPr>
      </p:pic>
      <p:sp>
        <p:nvSpPr>
          <p:cNvPr id="425" name="PlaceHolder 18"/>
          <p:cNvSpPr/>
          <p:nvPr/>
        </p:nvSpPr>
        <p:spPr>
          <a:xfrm>
            <a:off x="6120000" y="5122080"/>
            <a:ext cx="3387240" cy="8164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ctr">
            <a:noAutofit/>
          </a:bodyPr>
          <a:p>
            <a:pPr defTabSz="914400">
              <a:lnSpc>
                <a:spcPct val="90000"/>
              </a:lnSpc>
              <a:spcAft>
                <a:spcPts val="1199"/>
              </a:spcAft>
              <a:tabLst>
                <a:tab algn="l" pos="0"/>
              </a:tabLst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Ковалева Маргарита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defTabSz="914400">
              <a:lnSpc>
                <a:spcPct val="90000"/>
              </a:lnSpc>
              <a:spcAft>
                <a:spcPts val="1199"/>
              </a:spcAft>
              <a:tabLst>
                <a:tab algn="l" pos="0"/>
              </a:tabLst>
            </a:pPr>
            <a:r>
              <a:rPr b="0" lang="ru-RU" sz="1200" spc="-1" strike="noStrike">
                <a:solidFill>
                  <a:schemeClr val="lt1"/>
                </a:solidFill>
                <a:latin typeface="YS Text Light"/>
              </a:rPr>
              <a:t>Ментор</a:t>
            </a:r>
            <a:endParaRPr b="0" lang="ru-RU" sz="12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6" name="think-cell data - do not delete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1" spid="">
              <p:embed/>
              <p:pic>
                <p:nvPicPr>
                  <p:cNvPr id="427" name="think-cell data - do not delete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428" name="Прямоугольник 3"/>
          <p:cNvSpPr/>
          <p:nvPr/>
        </p:nvSpPr>
        <p:spPr>
          <a:xfrm>
            <a:off x="357120" y="4892040"/>
            <a:ext cx="2714040" cy="638640"/>
          </a:xfrm>
          <a:prstGeom prst="rect">
            <a:avLst/>
          </a:prstGeom>
          <a:solidFill>
            <a:srgbClr val="ff37b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429" name="PlaceHolder 1"/>
          <p:cNvSpPr>
            <a:spLocks noGrp="1"/>
          </p:cNvSpPr>
          <p:nvPr>
            <p:ph type="title"/>
          </p:nvPr>
        </p:nvSpPr>
        <p:spPr>
          <a:xfrm>
            <a:off x="258120" y="4740840"/>
            <a:ext cx="9664920" cy="21150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p>
            <a:pPr indent="0" defTabSz="914400">
              <a:lnSpc>
                <a:spcPct val="70000"/>
              </a:lnSpc>
              <a:buNone/>
              <a:tabLst>
                <a:tab algn="l" pos="0"/>
              </a:tabLst>
            </a:pPr>
            <a:r>
              <a:rPr b="0" lang="ru-RU" sz="9600" spc="-1" strike="noStrike">
                <a:solidFill>
                  <a:schemeClr val="lt1"/>
                </a:solidFill>
                <a:latin typeface="YS Text Regular"/>
              </a:rPr>
              <a:t>Цель и задачи проекта</a:t>
            </a:r>
            <a:endParaRPr b="0" lang="ru-RU" sz="96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0" name="PlaceHolder 2"/>
          <p:cNvSpPr>
            <a:spLocks noGrp="1"/>
          </p:cNvSpPr>
          <p:nvPr>
            <p:ph/>
          </p:nvPr>
        </p:nvSpPr>
        <p:spPr>
          <a:xfrm>
            <a:off x="299880" y="150120"/>
            <a:ext cx="2441160" cy="13273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p>
            <a:pPr indent="0" defTabSz="914400">
              <a:lnSpc>
                <a:spcPct val="9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ru-ME" sz="9600" spc="-1" strike="noStrike">
                <a:solidFill>
                  <a:schemeClr val="lt1"/>
                </a:solidFill>
                <a:latin typeface="YS Text Regular"/>
              </a:rPr>
              <a:t>0</a:t>
            </a:r>
            <a:r>
              <a:rPr b="0" lang="ru-RU" sz="9600" spc="-1" strike="noStrike">
                <a:solidFill>
                  <a:schemeClr val="lt1"/>
                </a:solidFill>
                <a:latin typeface="YS Text Regular"/>
              </a:rPr>
              <a:t>2</a:t>
            </a:r>
            <a:endParaRPr b="0" lang="ru-RU" sz="96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dad06e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1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1" spid="">
              <p:embed/>
              <p:pic>
                <p:nvPicPr>
                  <p:cNvPr id="432" name="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433" name="Прямоугольник 3"/>
          <p:cNvSpPr/>
          <p:nvPr/>
        </p:nvSpPr>
        <p:spPr>
          <a:xfrm>
            <a:off x="8720280" y="4120560"/>
            <a:ext cx="2258640" cy="582480"/>
          </a:xfrm>
          <a:prstGeom prst="rect">
            <a:avLst/>
          </a:prstGeom>
          <a:solidFill>
            <a:srgbClr val="ff37b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 defTabSz="914400">
              <a:lnSpc>
                <a:spcPct val="100000"/>
              </a:lnSpc>
            </a:pPr>
            <a:endParaRPr b="0" lang="ru-RU" sz="1800" spc="-1" strike="noStrike">
              <a:solidFill>
                <a:schemeClr val="lt1"/>
              </a:solidFill>
              <a:latin typeface="YS Text Light"/>
            </a:endParaRPr>
          </a:p>
        </p:txBody>
      </p:sp>
      <p:sp>
        <p:nvSpPr>
          <p:cNvPr id="434" name="PlaceHolder 1"/>
          <p:cNvSpPr>
            <a:spLocks noGrp="1"/>
          </p:cNvSpPr>
          <p:nvPr>
            <p:ph type="title"/>
          </p:nvPr>
        </p:nvSpPr>
        <p:spPr>
          <a:xfrm>
            <a:off x="180000" y="1620000"/>
            <a:ext cx="11630880" cy="2820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p>
            <a:pPr indent="0" algn="just">
              <a:lnSpc>
                <a:spcPct val="100000"/>
              </a:lnSpc>
              <a:spcBef>
                <a:spcPts val="1191"/>
              </a:spcBef>
              <a:spcAft>
                <a:spcPts val="992"/>
              </a:spcAft>
              <a:buNone/>
              <a:tabLst>
                <a:tab algn="l" pos="0"/>
              </a:tabLst>
            </a:pPr>
            <a:r>
              <a:rPr b="0" lang="ru-RU" sz="2400" spc="-1" strike="noStrike">
                <a:solidFill>
                  <a:srgbClr val="000000"/>
                </a:solidFill>
                <a:latin typeface="YS Text Light"/>
              </a:rPr>
              <a:t>	</a:t>
            </a:r>
            <a:r>
              <a:rPr b="0" lang="ru-RU" sz="2600" spc="-1" strike="noStrike">
                <a:solidFill>
                  <a:srgbClr val="000000"/>
                </a:solidFill>
                <a:latin typeface="YS Text Light"/>
              </a:rPr>
              <a:t>Разработать </a:t>
            </a:r>
            <a:r>
              <a:rPr b="0" lang="ru-RU" sz="2600" spc="-1" strike="noStrike">
                <a:solidFill>
                  <a:srgbClr val="000000"/>
                </a:solidFill>
                <a:highlight>
                  <a:srgbClr val="b4c7dc"/>
                </a:highlight>
                <a:latin typeface="YS Text Light"/>
              </a:rPr>
              <a:t>модель</a:t>
            </a:r>
            <a:r>
              <a:rPr b="0" lang="ru-RU" sz="2600" spc="-1" strike="noStrike">
                <a:solidFill>
                  <a:srgbClr val="000000"/>
                </a:solidFill>
                <a:latin typeface="YS Text Light"/>
              </a:rPr>
              <a:t>, которая </a:t>
            </a:r>
            <a:r>
              <a:rPr b="0" lang="ru-RU" sz="2600" spc="-1" strike="noStrike">
                <a:solidFill>
                  <a:srgbClr val="000000"/>
                </a:solidFill>
                <a:highlight>
                  <a:srgbClr val="ffd8ce"/>
                </a:highlight>
                <a:latin typeface="YS Text Light"/>
              </a:rPr>
              <a:t>автоматически</a:t>
            </a:r>
            <a:r>
              <a:rPr b="0" lang="ru-RU" sz="2600" spc="-1" strike="noStrike">
                <a:solidFill>
                  <a:srgbClr val="000000"/>
                </a:solidFill>
                <a:latin typeface="YS Text Light"/>
              </a:rPr>
              <a:t> генерирует краткое текстовое описание окружающей среды автомобиля на фотографии, чтобы </a:t>
            </a:r>
            <a:r>
              <a:rPr b="0" lang="ru-RU" sz="2600" spc="-1" strike="noStrike">
                <a:solidFill>
                  <a:srgbClr val="000000"/>
                </a:solidFill>
                <a:highlight>
                  <a:srgbClr val="b2b2b2"/>
                </a:highlight>
                <a:latin typeface="YS Text Light"/>
              </a:rPr>
              <a:t>упростить</a:t>
            </a:r>
            <a:r>
              <a:rPr b="0" lang="ru-RU" sz="2600" spc="-1" strike="noStrike">
                <a:solidFill>
                  <a:srgbClr val="000000"/>
                </a:solidFill>
                <a:latin typeface="YS Text Light"/>
              </a:rPr>
              <a:t> поиск транспортных средств при сбоях GPS и </a:t>
            </a:r>
            <a:r>
              <a:rPr b="0" lang="ru-RU" sz="2600" spc="-1" strike="noStrike">
                <a:solidFill>
                  <a:srgbClr val="000000"/>
                </a:solidFill>
                <a:highlight>
                  <a:srgbClr val="dde8cb"/>
                </a:highlight>
                <a:latin typeface="YS Text Light"/>
              </a:rPr>
              <a:t>повысить эффективность</a:t>
            </a:r>
            <a:r>
              <a:rPr b="0" lang="ru-RU" sz="2600" spc="-1" strike="noStrike">
                <a:solidFill>
                  <a:srgbClr val="000000"/>
                </a:solidFill>
                <a:latin typeface="YS Text Light"/>
              </a:rPr>
              <a:t> взаимодействия клиентов и сотрудников поддержки.</a:t>
            </a:r>
            <a:endParaRPr b="0" lang="ru-RU" sz="26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5" name=""/>
          <p:cNvSpPr/>
          <p:nvPr/>
        </p:nvSpPr>
        <p:spPr>
          <a:xfrm>
            <a:off x="360000" y="360000"/>
            <a:ext cx="4858200" cy="14382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</a:pPr>
            <a:r>
              <a:rPr b="0" lang="ru-RU" sz="7200" spc="-1" strike="noStrike">
                <a:solidFill>
                  <a:srgbClr val="ff0000"/>
                </a:solidFill>
                <a:latin typeface="ys text light"/>
              </a:rPr>
              <a:t>Цель</a:t>
            </a:r>
            <a:endParaRPr b="0" lang="ru-RU" sz="72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6" name="think-cell data - do not delete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1" spid="">
              <p:embed/>
              <p:pic>
                <p:nvPicPr>
                  <p:cNvPr id="437" name="think-cell data - do not delete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438" name="PlaceHolder 1"/>
          <p:cNvSpPr>
            <a:spLocks noGrp="1"/>
          </p:cNvSpPr>
          <p:nvPr>
            <p:ph type="sldNum" idx="13"/>
          </p:nvPr>
        </p:nvSpPr>
        <p:spPr>
          <a:xfrm>
            <a:off x="11228040" y="6609600"/>
            <a:ext cx="656280" cy="151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r" defTabSz="914400">
              <a:lnSpc>
                <a:spcPct val="100000"/>
              </a:lnSpc>
              <a:buNone/>
              <a:tabLst>
                <a:tab algn="l" pos="0"/>
              </a:tabLst>
              <a:defRPr b="0" lang="ru-RU" sz="1000" spc="-1" strike="noStrike">
                <a:solidFill>
                  <a:schemeClr val="lt1"/>
                </a:solidFill>
                <a:latin typeface="YS Text Light"/>
              </a:defRPr>
            </a:lvl1pPr>
          </a:lstStyle>
          <a:p>
            <a:pPr indent="0" algn="r" defTabSz="914400">
              <a:lnSpc>
                <a:spcPct val="100000"/>
              </a:lnSpc>
              <a:buNone/>
              <a:tabLst>
                <a:tab algn="l" pos="0"/>
              </a:tabLst>
            </a:pPr>
            <a:fld id="{676121BE-2343-41F4-AF77-A25DA338E983}" type="slidenum">
              <a:rPr b="0" lang="ru-RU" sz="1000" spc="-1" strike="noStrike">
                <a:solidFill>
                  <a:schemeClr val="lt1"/>
                </a:solidFill>
                <a:latin typeface="YS Text Light"/>
              </a:rPr>
              <a:t>&lt;номер&gt;</a:t>
            </a:fld>
            <a:endParaRPr b="0" lang="ru-RU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39" name="PlaceHolder 2"/>
          <p:cNvSpPr>
            <a:spLocks noGrp="1"/>
          </p:cNvSpPr>
          <p:nvPr>
            <p:ph/>
          </p:nvPr>
        </p:nvSpPr>
        <p:spPr>
          <a:xfrm>
            <a:off x="6239880" y="2362320"/>
            <a:ext cx="5473440" cy="3301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defTabSz="914400">
              <a:lnSpc>
                <a:spcPct val="90000"/>
              </a:lnSpc>
              <a:spcAft>
                <a:spcPts val="1199"/>
              </a:spcAft>
              <a:buNone/>
              <a:tabLst>
                <a:tab algn="l" pos="0"/>
              </a:tabLst>
            </a:pPr>
            <a:r>
              <a:rPr b="0" lang="ru-RU" sz="2400" spc="-1" strike="noStrike">
                <a:solidFill>
                  <a:schemeClr val="lt1"/>
                </a:solidFill>
                <a:latin typeface="YS Text Light"/>
              </a:rPr>
              <a:t>Развернуть мультимодальную модель, принимающую на вход полученные признаки и фотографию, и генерирующую описание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0" name="PlaceHolder 3"/>
          <p:cNvSpPr>
            <a:spLocks noGrp="1"/>
          </p:cNvSpPr>
          <p:nvPr>
            <p:ph/>
          </p:nvPr>
        </p:nvSpPr>
        <p:spPr>
          <a:xfrm>
            <a:off x="308160" y="2362320"/>
            <a:ext cx="5566680" cy="3301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defTabSz="914400">
              <a:lnSpc>
                <a:spcPct val="90000"/>
              </a:lnSpc>
              <a:spcAft>
                <a:spcPts val="1199"/>
              </a:spcAft>
              <a:buNone/>
              <a:tabLst>
                <a:tab algn="l" pos="0"/>
              </a:tabLst>
            </a:pPr>
            <a:r>
              <a:rPr b="0" lang="ru-RU" sz="2400" spc="-1" strike="noStrike">
                <a:solidFill>
                  <a:schemeClr val="lt1"/>
                </a:solidFill>
                <a:latin typeface="YS Text Light"/>
              </a:rPr>
              <a:t>Обучить несколько </a:t>
            </a:r>
            <a:r>
              <a:rPr b="0" lang="ru-RU" sz="2400" spc="-1" strike="noStrike">
                <a:solidFill>
                  <a:schemeClr val="lt1"/>
                </a:solidFill>
                <a:latin typeface="YS Text Light"/>
              </a:rPr>
              <a:t>моделей, которые </a:t>
            </a:r>
            <a:r>
              <a:rPr b="0" lang="ru-RU" sz="2400" spc="-1" strike="noStrike">
                <a:solidFill>
                  <a:schemeClr val="lt1"/>
                </a:solidFill>
                <a:latin typeface="YS Text Light"/>
              </a:rPr>
              <a:t>выделяют текстовые </a:t>
            </a:r>
            <a:r>
              <a:rPr b="0" lang="ru-RU" sz="2400" spc="-1" strike="noStrike">
                <a:solidFill>
                  <a:schemeClr val="lt1"/>
                </a:solidFill>
                <a:latin typeface="YS Text Light"/>
              </a:rPr>
              <a:t>признаки из </a:t>
            </a:r>
            <a:r>
              <a:rPr b="0" lang="ru-RU" sz="2400" spc="-1" strike="noStrike">
                <a:solidFill>
                  <a:schemeClr val="lt1"/>
                </a:solidFill>
                <a:latin typeface="YS Text Light"/>
              </a:rPr>
              <a:t>фотографии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1" name="PlaceHolder 4"/>
          <p:cNvSpPr>
            <a:spLocks noGrp="1"/>
          </p:cNvSpPr>
          <p:nvPr>
            <p:ph type="title"/>
          </p:nvPr>
        </p:nvSpPr>
        <p:spPr>
          <a:xfrm>
            <a:off x="308160" y="297000"/>
            <a:ext cx="8633520" cy="55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defTabSz="914400">
              <a:lnSpc>
                <a:spcPct val="80000"/>
              </a:lnSpc>
              <a:buNone/>
              <a:tabLst>
                <a:tab algn="l" pos="0"/>
              </a:tabLst>
            </a:pPr>
            <a:r>
              <a:rPr b="0" lang="ru-RU" sz="4500" spc="-1" strike="noStrike">
                <a:solidFill>
                  <a:schemeClr val="lt1"/>
                </a:solidFill>
                <a:latin typeface="YS Text Regular"/>
              </a:rPr>
              <a:t>Задачи</a:t>
            </a:r>
            <a:endParaRPr b="0" lang="ru-RU" sz="45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2" name="PlaceHolder 5"/>
          <p:cNvSpPr>
            <a:spLocks noGrp="1"/>
          </p:cNvSpPr>
          <p:nvPr>
            <p:ph/>
          </p:nvPr>
        </p:nvSpPr>
        <p:spPr>
          <a:xfrm>
            <a:off x="308160" y="1452240"/>
            <a:ext cx="970560" cy="6210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defTabSz="914400">
              <a:lnSpc>
                <a:spcPct val="9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ru-ME" sz="4500" spc="-1" strike="noStrike">
                <a:solidFill>
                  <a:schemeClr val="accent5"/>
                </a:solidFill>
                <a:latin typeface="YS Text Light"/>
              </a:rPr>
              <a:t>01</a:t>
            </a:r>
            <a:endParaRPr b="0" lang="ru-RU" sz="45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3" name="PlaceHolder 6"/>
          <p:cNvSpPr>
            <a:spLocks noGrp="1"/>
          </p:cNvSpPr>
          <p:nvPr>
            <p:ph/>
          </p:nvPr>
        </p:nvSpPr>
        <p:spPr>
          <a:xfrm>
            <a:off x="6234120" y="1452240"/>
            <a:ext cx="970560" cy="6210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defTabSz="914400">
              <a:lnSpc>
                <a:spcPct val="9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ru-RU" sz="4500" spc="-1" strike="noStrike">
                <a:solidFill>
                  <a:schemeClr val="accent5"/>
                </a:solidFill>
                <a:latin typeface="YS Text Light"/>
              </a:rPr>
              <a:t>02</a:t>
            </a:r>
            <a:endParaRPr b="0" lang="ru-RU" sz="45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4" name="PlaceHolder 7"/>
          <p:cNvSpPr>
            <a:spLocks noGrp="1"/>
          </p:cNvSpPr>
          <p:nvPr>
            <p:ph/>
          </p:nvPr>
        </p:nvSpPr>
        <p:spPr>
          <a:xfrm>
            <a:off x="10121760" y="297000"/>
            <a:ext cx="1767960" cy="5583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9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chemeClr val="lt1">
                    <a:lumMod val="50000"/>
                    <a:lumOff val="50000"/>
                  </a:schemeClr>
                </a:solidFill>
                <a:latin typeface="YS Text Light"/>
              </a:rPr>
              <a:t>Студкемп по компьютерному зрению и автономному транспорту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445" name="Прямая соединительная линия 16"/>
          <p:cNvCxnSpPr/>
          <p:nvPr/>
        </p:nvCxnSpPr>
        <p:spPr>
          <a:xfrm>
            <a:off x="9924840" y="296640"/>
            <a:ext cx="2160" cy="5619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6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1" spid="">
              <p:embed/>
              <p:pic>
                <p:nvPicPr>
                  <p:cNvPr id="447" name="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448" name="PlaceHolder 1"/>
          <p:cNvSpPr>
            <a:spLocks noGrp="1"/>
          </p:cNvSpPr>
          <p:nvPr>
            <p:ph type="sldNum" idx="14"/>
          </p:nvPr>
        </p:nvSpPr>
        <p:spPr>
          <a:xfrm>
            <a:off x="11228040" y="6609600"/>
            <a:ext cx="656280" cy="151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r" defTabSz="914400">
              <a:lnSpc>
                <a:spcPct val="100000"/>
              </a:lnSpc>
              <a:buNone/>
              <a:tabLst>
                <a:tab algn="l" pos="0"/>
              </a:tabLst>
              <a:defRPr b="0" lang="ru-RU" sz="1000" spc="-1" strike="noStrike">
                <a:solidFill>
                  <a:schemeClr val="lt1"/>
                </a:solidFill>
                <a:latin typeface="YS Text Light"/>
              </a:defRPr>
            </a:lvl1pPr>
          </a:lstStyle>
          <a:p>
            <a:pPr indent="0" algn="r" defTabSz="914400">
              <a:lnSpc>
                <a:spcPct val="100000"/>
              </a:lnSpc>
              <a:buNone/>
              <a:tabLst>
                <a:tab algn="l" pos="0"/>
              </a:tabLst>
            </a:pPr>
            <a:fld id="{DCC987D7-B32C-479B-AAF7-AD1DB5EF5DDD}" type="slidenum">
              <a:rPr b="0" lang="ru-RU" sz="1000" spc="-1" strike="noStrike">
                <a:solidFill>
                  <a:schemeClr val="lt1"/>
                </a:solidFill>
                <a:latin typeface="YS Text Light"/>
              </a:rPr>
              <a:t>&lt;номер&gt;</a:t>
            </a:fld>
            <a:endParaRPr b="0" lang="ru-RU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49" name="PlaceHolder 2"/>
          <p:cNvSpPr>
            <a:spLocks noGrp="1"/>
          </p:cNvSpPr>
          <p:nvPr>
            <p:ph/>
          </p:nvPr>
        </p:nvSpPr>
        <p:spPr>
          <a:xfrm>
            <a:off x="4472640" y="1842480"/>
            <a:ext cx="7266240" cy="3915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343080" indent="-343080" defTabSz="914400">
              <a:lnSpc>
                <a:spcPct val="90000"/>
              </a:lnSpc>
              <a:spcAft>
                <a:spcPts val="1199"/>
              </a:spcAft>
              <a:buClr>
                <a:srgbClr val="313131"/>
              </a:buClr>
              <a:buFont typeface="YS Text Regular"/>
              <a:buAutoNum type="arabicPeriod"/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Загрузить изображение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90000"/>
              </a:lnSpc>
              <a:spcAft>
                <a:spcPts val="1199"/>
              </a:spcAft>
              <a:buClr>
                <a:srgbClr val="313131"/>
              </a:buClr>
              <a:buFont typeface="YS Text Regular"/>
              <a:buAutoNum type="arabicPeriod"/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Правильно повернуть фото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90000"/>
              </a:lnSpc>
              <a:spcAft>
                <a:spcPts val="1199"/>
              </a:spcAft>
              <a:buClr>
                <a:srgbClr val="313131"/>
              </a:buClr>
              <a:buFont typeface="YS Text Regular"/>
              <a:buAutoNum type="arabicPeriod"/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Определить, есть ли автомобиль на фото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90000"/>
              </a:lnSpc>
              <a:spcAft>
                <a:spcPts val="1199"/>
              </a:spcAft>
              <a:buClr>
                <a:srgbClr val="313131"/>
              </a:buClr>
              <a:buFont typeface="YS Text Regular"/>
              <a:buAutoNum type="arabicPeriod"/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Удалить небо и автомобиль (необходимо для некоторых моделей)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indent="0" defTabSz="914400">
              <a:lnSpc>
                <a:spcPct val="90000"/>
              </a:lnSpc>
              <a:spcAft>
                <a:spcPts val="1199"/>
              </a:spcAft>
              <a:buNone/>
              <a:tabLst>
                <a:tab algn="l" pos="0"/>
              </a:tabLst>
            </a:pP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0" name="PlaceHolder 3"/>
          <p:cNvSpPr>
            <a:spLocks noGrp="1"/>
          </p:cNvSpPr>
          <p:nvPr>
            <p:ph/>
          </p:nvPr>
        </p:nvSpPr>
        <p:spPr>
          <a:xfrm>
            <a:off x="520920" y="1842480"/>
            <a:ext cx="3229920" cy="3915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defTabSz="914400">
              <a:lnSpc>
                <a:spcPct val="90000"/>
              </a:lnSpc>
              <a:spcAft>
                <a:spcPts val="1199"/>
              </a:spcAft>
              <a:buNone/>
              <a:tabLst>
                <a:tab algn="l" pos="0"/>
              </a:tabLst>
            </a:pPr>
            <a:r>
              <a:rPr b="0" lang="ru-RU" sz="3000" spc="-1" strike="noStrike">
                <a:solidFill>
                  <a:schemeClr val="lt1"/>
                </a:solidFill>
                <a:latin typeface="YS Text Light"/>
              </a:rPr>
              <a:t>Первичная обработка изображения</a:t>
            </a:r>
            <a:endParaRPr b="0" lang="ru-RU" sz="3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1" name="PlaceHolder 4"/>
          <p:cNvSpPr>
            <a:spLocks noGrp="1"/>
          </p:cNvSpPr>
          <p:nvPr>
            <p:ph type="title"/>
          </p:nvPr>
        </p:nvSpPr>
        <p:spPr>
          <a:xfrm>
            <a:off x="308160" y="297000"/>
            <a:ext cx="8633520" cy="55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defTabSz="914400">
              <a:lnSpc>
                <a:spcPct val="80000"/>
              </a:lnSpc>
              <a:buNone/>
              <a:tabLst>
                <a:tab algn="l" pos="0"/>
              </a:tabLst>
            </a:pPr>
            <a:r>
              <a:rPr b="0" lang="ru-RU" sz="4500" spc="-1" strike="noStrike">
                <a:solidFill>
                  <a:schemeClr val="lt1"/>
                </a:solidFill>
                <a:latin typeface="YS Text Regular"/>
              </a:rPr>
              <a:t>Подзадачи</a:t>
            </a:r>
            <a:endParaRPr b="0" lang="ru-RU" sz="45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2" name="PlaceHolder 5"/>
          <p:cNvSpPr>
            <a:spLocks noGrp="1"/>
          </p:cNvSpPr>
          <p:nvPr>
            <p:ph/>
          </p:nvPr>
        </p:nvSpPr>
        <p:spPr>
          <a:xfrm>
            <a:off x="10121760" y="297000"/>
            <a:ext cx="1767960" cy="5583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9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chemeClr val="lt1">
                    <a:lumMod val="50000"/>
                    <a:lumOff val="50000"/>
                  </a:schemeClr>
                </a:solidFill>
                <a:latin typeface="YS Text Light"/>
              </a:rPr>
              <a:t>Студкемп по компьютерному зрению и автономному транспорту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453" name="Прямая соединительная линия 15"/>
          <p:cNvCxnSpPr/>
          <p:nvPr/>
        </p:nvCxnSpPr>
        <p:spPr>
          <a:xfrm>
            <a:off x="9924840" y="296640"/>
            <a:ext cx="2160" cy="5619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4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r:id="rId1" spid="">
              <p:embed/>
              <p:pic>
                <p:nvPicPr>
                  <p:cNvPr id="455" name="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456" name="PlaceHolder 1"/>
          <p:cNvSpPr>
            <a:spLocks noGrp="1"/>
          </p:cNvSpPr>
          <p:nvPr>
            <p:ph type="sldNum" idx="15"/>
          </p:nvPr>
        </p:nvSpPr>
        <p:spPr>
          <a:xfrm>
            <a:off x="11228040" y="6609600"/>
            <a:ext cx="656280" cy="151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r" defTabSz="914400">
              <a:lnSpc>
                <a:spcPct val="100000"/>
              </a:lnSpc>
              <a:buNone/>
              <a:tabLst>
                <a:tab algn="l" pos="0"/>
              </a:tabLst>
              <a:defRPr b="0" lang="ru-RU" sz="1000" spc="-1" strike="noStrike">
                <a:solidFill>
                  <a:schemeClr val="lt1"/>
                </a:solidFill>
                <a:latin typeface="YS Text Light"/>
              </a:defRPr>
            </a:lvl1pPr>
          </a:lstStyle>
          <a:p>
            <a:pPr indent="0" algn="r" defTabSz="914400">
              <a:lnSpc>
                <a:spcPct val="100000"/>
              </a:lnSpc>
              <a:buNone/>
              <a:tabLst>
                <a:tab algn="l" pos="0"/>
              </a:tabLst>
            </a:pPr>
            <a:fld id="{5952F3C6-3689-4259-AEE8-2228113577A4}" type="slidenum">
              <a:rPr b="0" lang="ru-RU" sz="1000" spc="-1" strike="noStrike">
                <a:solidFill>
                  <a:schemeClr val="lt1"/>
                </a:solidFill>
                <a:latin typeface="YS Text Light"/>
              </a:rPr>
              <a:t>&lt;номер&gt;</a:t>
            </a:fld>
            <a:endParaRPr b="0" lang="ru-RU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57" name="PlaceHolder 2"/>
          <p:cNvSpPr>
            <a:spLocks noGrp="1"/>
          </p:cNvSpPr>
          <p:nvPr>
            <p:ph/>
          </p:nvPr>
        </p:nvSpPr>
        <p:spPr>
          <a:xfrm>
            <a:off x="4472640" y="1832400"/>
            <a:ext cx="7266240" cy="3301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defTabSz="914400">
              <a:lnSpc>
                <a:spcPct val="90000"/>
              </a:lnSpc>
              <a:buNone/>
              <a:tabLst>
                <a:tab algn="l" pos="0"/>
              </a:tabLst>
            </a:pPr>
            <a:r>
              <a:rPr b="0" lang="ru-RU" sz="2400" spc="-1" strike="noStrike">
                <a:solidFill>
                  <a:schemeClr val="lt1"/>
                </a:solidFill>
                <a:latin typeface="YS Text Light"/>
              </a:rPr>
              <a:t>Обучить несколько моделей, которые: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8" name="PlaceHolder 3"/>
          <p:cNvSpPr>
            <a:spLocks noGrp="1"/>
          </p:cNvSpPr>
          <p:nvPr>
            <p:ph/>
          </p:nvPr>
        </p:nvSpPr>
        <p:spPr>
          <a:xfrm>
            <a:off x="4431960" y="2562480"/>
            <a:ext cx="7266240" cy="3915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343080" indent="-343080" defTabSz="914400">
              <a:lnSpc>
                <a:spcPct val="90000"/>
              </a:lnSpc>
              <a:spcAft>
                <a:spcPts val="1199"/>
              </a:spcAft>
              <a:buClr>
                <a:srgbClr val="313131"/>
              </a:buClr>
              <a:buFont typeface="YS Text Regular"/>
              <a:buAutoNum type="arabicPeriod"/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Классифицируют объекты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90000"/>
              </a:lnSpc>
              <a:spcAft>
                <a:spcPts val="1199"/>
              </a:spcAft>
              <a:buClr>
                <a:srgbClr val="313131"/>
              </a:buClr>
              <a:buFont typeface="YS Text Regular"/>
              <a:buAutoNum type="arabicPeriod"/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Классифицируют тип окружения (парковка, заправка и т. д.)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90000"/>
              </a:lnSpc>
              <a:spcAft>
                <a:spcPts val="1199"/>
              </a:spcAft>
              <a:buClr>
                <a:srgbClr val="313131"/>
              </a:buClr>
              <a:buFont typeface="YS Text Regular"/>
              <a:buAutoNum type="arabicPeriod"/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Кратко (1-2 слова) описывают окружение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indent="0" defTabSz="914400">
              <a:lnSpc>
                <a:spcPct val="90000"/>
              </a:lnSpc>
              <a:spcAft>
                <a:spcPts val="1199"/>
              </a:spcAft>
              <a:buNone/>
              <a:tabLst>
                <a:tab algn="l" pos="0"/>
              </a:tabLst>
            </a:pP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9" name="PlaceHolder 4"/>
          <p:cNvSpPr>
            <a:spLocks noGrp="1"/>
          </p:cNvSpPr>
          <p:nvPr>
            <p:ph/>
          </p:nvPr>
        </p:nvSpPr>
        <p:spPr>
          <a:xfrm>
            <a:off x="520920" y="1800000"/>
            <a:ext cx="3229920" cy="3915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defTabSz="914400">
              <a:lnSpc>
                <a:spcPct val="90000"/>
              </a:lnSpc>
              <a:spcAft>
                <a:spcPts val="1199"/>
              </a:spcAft>
              <a:buNone/>
              <a:tabLst>
                <a:tab algn="l" pos="0"/>
              </a:tabLst>
            </a:pPr>
            <a:r>
              <a:rPr b="0" lang="ru-RU" sz="3000" spc="-1" strike="noStrike">
                <a:solidFill>
                  <a:schemeClr val="lt1"/>
                </a:solidFill>
                <a:latin typeface="YS Text Light"/>
              </a:rPr>
              <a:t>Выделение текстовых признаков</a:t>
            </a:r>
            <a:endParaRPr b="0" lang="ru-RU" sz="3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0" name="PlaceHolder 5"/>
          <p:cNvSpPr>
            <a:spLocks noGrp="1"/>
          </p:cNvSpPr>
          <p:nvPr>
            <p:ph type="title"/>
          </p:nvPr>
        </p:nvSpPr>
        <p:spPr>
          <a:xfrm>
            <a:off x="308160" y="297000"/>
            <a:ext cx="8633520" cy="55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defTabSz="914400">
              <a:lnSpc>
                <a:spcPct val="80000"/>
              </a:lnSpc>
              <a:buNone/>
              <a:tabLst>
                <a:tab algn="l" pos="0"/>
              </a:tabLst>
            </a:pPr>
            <a:r>
              <a:rPr b="0" lang="ru-RU" sz="4500" spc="-1" strike="noStrike">
                <a:solidFill>
                  <a:schemeClr val="lt1"/>
                </a:solidFill>
                <a:latin typeface="YS Text Regular"/>
              </a:rPr>
              <a:t>Подзадачи</a:t>
            </a:r>
            <a:endParaRPr b="0" lang="ru-RU" sz="45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1" name="PlaceHolder 6"/>
          <p:cNvSpPr>
            <a:spLocks noGrp="1"/>
          </p:cNvSpPr>
          <p:nvPr>
            <p:ph/>
          </p:nvPr>
        </p:nvSpPr>
        <p:spPr>
          <a:xfrm>
            <a:off x="10121760" y="297000"/>
            <a:ext cx="1767960" cy="5583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9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chemeClr val="lt1">
                    <a:lumMod val="50000"/>
                    <a:lumOff val="50000"/>
                  </a:schemeClr>
                </a:solidFill>
                <a:latin typeface="YS Text Light"/>
              </a:rPr>
              <a:t>Студкемп по компьютерному зрению и автономному транспорту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462" name="Прямая соединительная линия 1"/>
          <p:cNvCxnSpPr/>
          <p:nvPr/>
        </p:nvCxnSpPr>
        <p:spPr>
          <a:xfrm>
            <a:off x="9924840" y="296640"/>
            <a:ext cx="2160" cy="5619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9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3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r:id="rId1" spid="">
              <p:embed/>
              <p:pic>
                <p:nvPicPr>
                  <p:cNvPr id="464" name="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465" name="PlaceHolder 1"/>
          <p:cNvSpPr>
            <a:spLocks noGrp="1"/>
          </p:cNvSpPr>
          <p:nvPr>
            <p:ph type="sldNum" idx="16"/>
          </p:nvPr>
        </p:nvSpPr>
        <p:spPr>
          <a:xfrm>
            <a:off x="11228040" y="6609600"/>
            <a:ext cx="656280" cy="151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r" defTabSz="914400">
              <a:lnSpc>
                <a:spcPct val="100000"/>
              </a:lnSpc>
              <a:buNone/>
              <a:tabLst>
                <a:tab algn="l" pos="0"/>
              </a:tabLst>
              <a:defRPr b="0" lang="ru-RU" sz="1000" spc="-1" strike="noStrike">
                <a:solidFill>
                  <a:schemeClr val="lt1"/>
                </a:solidFill>
                <a:latin typeface="YS Text Light"/>
              </a:defRPr>
            </a:lvl1pPr>
          </a:lstStyle>
          <a:p>
            <a:pPr indent="0" algn="r" defTabSz="914400">
              <a:lnSpc>
                <a:spcPct val="100000"/>
              </a:lnSpc>
              <a:buNone/>
              <a:tabLst>
                <a:tab algn="l" pos="0"/>
              </a:tabLst>
            </a:pPr>
            <a:fld id="{375B03A4-5038-4FCB-B62E-363E169B5F69}" type="slidenum">
              <a:rPr b="0" lang="ru-RU" sz="1000" spc="-1" strike="noStrike">
                <a:solidFill>
                  <a:schemeClr val="lt1"/>
                </a:solidFill>
                <a:latin typeface="YS Text Light"/>
              </a:rPr>
              <a:t>&lt;номер&gt;</a:t>
            </a:fld>
            <a:endParaRPr b="0" lang="ru-RU" sz="10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66" name="PlaceHolder 2"/>
          <p:cNvSpPr>
            <a:spLocks noGrp="1"/>
          </p:cNvSpPr>
          <p:nvPr>
            <p:ph/>
          </p:nvPr>
        </p:nvSpPr>
        <p:spPr>
          <a:xfrm>
            <a:off x="4431960" y="1912680"/>
            <a:ext cx="7266240" cy="3915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343080" indent="-343080" defTabSz="914400">
              <a:lnSpc>
                <a:spcPct val="90000"/>
              </a:lnSpc>
              <a:spcAft>
                <a:spcPts val="1199"/>
              </a:spcAft>
              <a:buClr>
                <a:srgbClr val="313131"/>
              </a:buClr>
              <a:buFont typeface="YS Text Regular"/>
              <a:buAutoNum type="arabicPeriod"/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Развернуть мультимодальную модель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marL="343080" indent="-343080" defTabSz="914400">
              <a:lnSpc>
                <a:spcPct val="90000"/>
              </a:lnSpc>
              <a:spcAft>
                <a:spcPts val="1199"/>
              </a:spcAft>
              <a:buClr>
                <a:srgbClr val="313131"/>
              </a:buClr>
              <a:buFont typeface="YS Text Regular"/>
              <a:buAutoNum type="arabicPeriod"/>
            </a:pPr>
            <a:r>
              <a:rPr b="0" lang="ru-RU" sz="1800" spc="-1" strike="noStrike">
                <a:solidFill>
                  <a:schemeClr val="lt1"/>
                </a:solidFill>
                <a:latin typeface="YS Text Light"/>
              </a:rPr>
              <a:t>Оценить ее работу и исправить накопившиеся неточности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indent="0" defTabSz="914400">
              <a:lnSpc>
                <a:spcPct val="90000"/>
              </a:lnSpc>
              <a:spcAft>
                <a:spcPts val="1199"/>
              </a:spcAft>
              <a:buNone/>
              <a:tabLst>
                <a:tab algn="l" pos="0"/>
              </a:tabLst>
            </a:pP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7" name="PlaceHolder 3"/>
          <p:cNvSpPr>
            <a:spLocks noGrp="1"/>
          </p:cNvSpPr>
          <p:nvPr>
            <p:ph/>
          </p:nvPr>
        </p:nvSpPr>
        <p:spPr>
          <a:xfrm>
            <a:off x="520920" y="1800000"/>
            <a:ext cx="3229920" cy="3915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defTabSz="914400">
              <a:lnSpc>
                <a:spcPct val="90000"/>
              </a:lnSpc>
              <a:spcAft>
                <a:spcPts val="1199"/>
              </a:spcAft>
              <a:buNone/>
              <a:tabLst>
                <a:tab algn="l" pos="0"/>
              </a:tabLst>
            </a:pPr>
            <a:r>
              <a:rPr b="0" lang="ru-RU" sz="3000" spc="-1" strike="noStrike">
                <a:solidFill>
                  <a:schemeClr val="lt1"/>
                </a:solidFill>
                <a:latin typeface="YS Text Light"/>
              </a:rPr>
              <a:t>Итоговая генерация описания</a:t>
            </a:r>
            <a:endParaRPr b="0" lang="ru-RU" sz="3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8" name="PlaceHolder 4"/>
          <p:cNvSpPr>
            <a:spLocks noGrp="1"/>
          </p:cNvSpPr>
          <p:nvPr>
            <p:ph type="title"/>
          </p:nvPr>
        </p:nvSpPr>
        <p:spPr>
          <a:xfrm>
            <a:off x="308160" y="297000"/>
            <a:ext cx="8633520" cy="557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 defTabSz="914400">
              <a:lnSpc>
                <a:spcPct val="80000"/>
              </a:lnSpc>
              <a:buNone/>
              <a:tabLst>
                <a:tab algn="l" pos="0"/>
              </a:tabLst>
            </a:pPr>
            <a:r>
              <a:rPr b="0" lang="ru-RU" sz="4500" spc="-1" strike="noStrike">
                <a:solidFill>
                  <a:schemeClr val="lt1"/>
                </a:solidFill>
                <a:latin typeface="YS Text Regular"/>
              </a:rPr>
              <a:t>Подзадачи</a:t>
            </a:r>
            <a:endParaRPr b="0" lang="ru-RU" sz="45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9" name="PlaceHolder 5"/>
          <p:cNvSpPr>
            <a:spLocks noGrp="1"/>
          </p:cNvSpPr>
          <p:nvPr>
            <p:ph/>
          </p:nvPr>
        </p:nvSpPr>
        <p:spPr>
          <a:xfrm>
            <a:off x="10121760" y="297000"/>
            <a:ext cx="1767960" cy="5583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defTabSz="914400">
              <a:lnSpc>
                <a:spcPct val="9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chemeClr val="lt1">
                    <a:lumMod val="50000"/>
                    <a:lumOff val="50000"/>
                  </a:schemeClr>
                </a:solidFill>
                <a:latin typeface="YS Text Light"/>
              </a:rPr>
              <a:t>Студкемп по компьютерному зрению и автономному транспорту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470" name="Прямая соединительная линия 3"/>
          <p:cNvCxnSpPr/>
          <p:nvPr/>
        </p:nvCxnSpPr>
        <p:spPr>
          <a:xfrm>
            <a:off x="9924840" y="296640"/>
            <a:ext cx="2160" cy="561960"/>
          </a:xfrm>
          <a:prstGeom prst="straightConnector1">
            <a:avLst/>
          </a:prstGeom>
          <a:ln w="0">
            <a:solidFill>
              <a:srgbClr val="313131"/>
            </a:solidFill>
          </a:ln>
        </p:spPr>
      </p:cxn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theme/theme1.xml><?xml version="1.0" encoding="utf-8"?>
<a:theme xmlns:a="http://schemas.openxmlformats.org/drawingml/2006/main" xmlns:r="http://schemas.openxmlformats.org/officeDocument/2006/relationships" name="Яндекс Образование_Студенты">
  <a:themeElements>
    <a:clrScheme name="Пользовательские 3">
      <a:dk1>
        <a:srgbClr val="ffffff"/>
      </a:dk1>
      <a:lt1>
        <a:srgbClr val="313131"/>
      </a:lt1>
      <a:dk2>
        <a:srgbClr val="f6f6f6"/>
      </a:dk2>
      <a:lt2>
        <a:srgbClr val="c3c8cc"/>
      </a:lt2>
      <a:accent1>
        <a:srgbClr val="dad06e"/>
      </a:accent1>
      <a:accent2>
        <a:srgbClr val="9586e5"/>
      </a:accent2>
      <a:accent3>
        <a:srgbClr val="fdb492"/>
      </a:accent3>
      <a:accent4>
        <a:srgbClr val="5a9bb9"/>
      </a:accent4>
      <a:accent5>
        <a:srgbClr val="ff37b9"/>
      </a:accent5>
      <a:accent6>
        <a:srgbClr val="799dff"/>
      </a:accent6>
      <a:hlink>
        <a:srgbClr val="0563c1"/>
      </a:hlink>
      <a:folHlink>
        <a:srgbClr val="954f72"/>
      </a:folHlink>
    </a:clrScheme>
    <a:fontScheme name="Другая 2">
      <a:majorFont>
        <a:latin typeface="YS Text Regular" pitchFamily="0" charset="1"/>
        <a:ea typeface=""/>
        <a:cs typeface=""/>
      </a:majorFont>
      <a:minorFont>
        <a:latin typeface="YS Text Ligh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10.xml><?xml version="1.0" encoding="utf-8"?>
<a:theme xmlns:a="http://schemas.openxmlformats.org/drawingml/2006/main" xmlns:r="http://schemas.openxmlformats.org/officeDocument/2006/relationships" name="Яндекс Образование_Студенты">
  <a:themeElements>
    <a:clrScheme name="Пользовательские 3">
      <a:dk1>
        <a:srgbClr val="ffffff"/>
      </a:dk1>
      <a:lt1>
        <a:srgbClr val="313131"/>
      </a:lt1>
      <a:dk2>
        <a:srgbClr val="f6f6f6"/>
      </a:dk2>
      <a:lt2>
        <a:srgbClr val="c3c8cc"/>
      </a:lt2>
      <a:accent1>
        <a:srgbClr val="dad06e"/>
      </a:accent1>
      <a:accent2>
        <a:srgbClr val="9586e5"/>
      </a:accent2>
      <a:accent3>
        <a:srgbClr val="fdb492"/>
      </a:accent3>
      <a:accent4>
        <a:srgbClr val="5a9bb9"/>
      </a:accent4>
      <a:accent5>
        <a:srgbClr val="ff37b9"/>
      </a:accent5>
      <a:accent6>
        <a:srgbClr val="799dff"/>
      </a:accent6>
      <a:hlink>
        <a:srgbClr val="0563c1"/>
      </a:hlink>
      <a:folHlink>
        <a:srgbClr val="954f72"/>
      </a:folHlink>
    </a:clrScheme>
    <a:fontScheme name="Другая 2">
      <a:majorFont>
        <a:latin typeface="YS Text Regular" pitchFamily="0" charset="1"/>
        <a:ea typeface=""/>
        <a:cs typeface=""/>
      </a:majorFont>
      <a:minorFont>
        <a:latin typeface="YS Text Ligh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11.xml><?xml version="1.0" encoding="utf-8"?>
<a:theme xmlns:a="http://schemas.openxmlformats.org/drawingml/2006/main" xmlns:r="http://schemas.openxmlformats.org/officeDocument/2006/relationships" name="Яндекс Образование_Студенты">
  <a:themeElements>
    <a:clrScheme name="Пользовательские 3">
      <a:dk1>
        <a:srgbClr val="ffffff"/>
      </a:dk1>
      <a:lt1>
        <a:srgbClr val="313131"/>
      </a:lt1>
      <a:dk2>
        <a:srgbClr val="f6f6f6"/>
      </a:dk2>
      <a:lt2>
        <a:srgbClr val="c3c8cc"/>
      </a:lt2>
      <a:accent1>
        <a:srgbClr val="dad06e"/>
      </a:accent1>
      <a:accent2>
        <a:srgbClr val="9586e5"/>
      </a:accent2>
      <a:accent3>
        <a:srgbClr val="fdb492"/>
      </a:accent3>
      <a:accent4>
        <a:srgbClr val="5a9bb9"/>
      </a:accent4>
      <a:accent5>
        <a:srgbClr val="ff37b9"/>
      </a:accent5>
      <a:accent6>
        <a:srgbClr val="799dff"/>
      </a:accent6>
      <a:hlink>
        <a:srgbClr val="0563c1"/>
      </a:hlink>
      <a:folHlink>
        <a:srgbClr val="954f72"/>
      </a:folHlink>
    </a:clrScheme>
    <a:fontScheme name="Другая 2">
      <a:majorFont>
        <a:latin typeface="YS Text Regular" pitchFamily="0" charset="1"/>
        <a:ea typeface=""/>
        <a:cs typeface=""/>
      </a:majorFont>
      <a:minorFont>
        <a:latin typeface="YS Text Ligh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12.xml><?xml version="1.0" encoding="utf-8"?>
<a:theme xmlns:a="http://schemas.openxmlformats.org/drawingml/2006/main" xmlns:r="http://schemas.openxmlformats.org/officeDocument/2006/relationships" name="Яндекс Образование_Студенты">
  <a:themeElements>
    <a:clrScheme name="Пользовательские 3">
      <a:dk1>
        <a:srgbClr val="ffffff"/>
      </a:dk1>
      <a:lt1>
        <a:srgbClr val="313131"/>
      </a:lt1>
      <a:dk2>
        <a:srgbClr val="f6f6f6"/>
      </a:dk2>
      <a:lt2>
        <a:srgbClr val="c3c8cc"/>
      </a:lt2>
      <a:accent1>
        <a:srgbClr val="dad06e"/>
      </a:accent1>
      <a:accent2>
        <a:srgbClr val="9586e5"/>
      </a:accent2>
      <a:accent3>
        <a:srgbClr val="fdb492"/>
      </a:accent3>
      <a:accent4>
        <a:srgbClr val="5a9bb9"/>
      </a:accent4>
      <a:accent5>
        <a:srgbClr val="ff37b9"/>
      </a:accent5>
      <a:accent6>
        <a:srgbClr val="799dff"/>
      </a:accent6>
      <a:hlink>
        <a:srgbClr val="0563c1"/>
      </a:hlink>
      <a:folHlink>
        <a:srgbClr val="954f72"/>
      </a:folHlink>
    </a:clrScheme>
    <a:fontScheme name="Другая 2">
      <a:majorFont>
        <a:latin typeface="YS Text Regular" pitchFamily="0" charset="1"/>
        <a:ea typeface=""/>
        <a:cs typeface=""/>
      </a:majorFont>
      <a:minorFont>
        <a:latin typeface="YS Text Ligh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13.xml><?xml version="1.0" encoding="utf-8"?>
<a:theme xmlns:a="http://schemas.openxmlformats.org/drawingml/2006/main" xmlns:r="http://schemas.openxmlformats.org/officeDocument/2006/relationships" name="Яндекс Образование_Студенты">
  <a:themeElements>
    <a:clrScheme name="Пользовательские 3">
      <a:dk1>
        <a:srgbClr val="ffffff"/>
      </a:dk1>
      <a:lt1>
        <a:srgbClr val="313131"/>
      </a:lt1>
      <a:dk2>
        <a:srgbClr val="f6f6f6"/>
      </a:dk2>
      <a:lt2>
        <a:srgbClr val="c3c8cc"/>
      </a:lt2>
      <a:accent1>
        <a:srgbClr val="dad06e"/>
      </a:accent1>
      <a:accent2>
        <a:srgbClr val="9586e5"/>
      </a:accent2>
      <a:accent3>
        <a:srgbClr val="fdb492"/>
      </a:accent3>
      <a:accent4>
        <a:srgbClr val="5a9bb9"/>
      </a:accent4>
      <a:accent5>
        <a:srgbClr val="ff37b9"/>
      </a:accent5>
      <a:accent6>
        <a:srgbClr val="799dff"/>
      </a:accent6>
      <a:hlink>
        <a:srgbClr val="0563c1"/>
      </a:hlink>
      <a:folHlink>
        <a:srgbClr val="954f72"/>
      </a:folHlink>
    </a:clrScheme>
    <a:fontScheme name="Другая 2">
      <a:majorFont>
        <a:latin typeface="YS Text Regular" pitchFamily="0" charset="1"/>
        <a:ea typeface=""/>
        <a:cs typeface=""/>
      </a:majorFont>
      <a:minorFont>
        <a:latin typeface="YS Text Ligh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14.xml><?xml version="1.0" encoding="utf-8"?>
<a:theme xmlns:a="http://schemas.openxmlformats.org/drawingml/2006/main" xmlns:r="http://schemas.openxmlformats.org/officeDocument/2006/relationships" name="Яндекс Образование_Студенты">
  <a:themeElements>
    <a:clrScheme name="Пользовательские 3">
      <a:dk1>
        <a:srgbClr val="ffffff"/>
      </a:dk1>
      <a:lt1>
        <a:srgbClr val="313131"/>
      </a:lt1>
      <a:dk2>
        <a:srgbClr val="f6f6f6"/>
      </a:dk2>
      <a:lt2>
        <a:srgbClr val="c3c8cc"/>
      </a:lt2>
      <a:accent1>
        <a:srgbClr val="dad06e"/>
      </a:accent1>
      <a:accent2>
        <a:srgbClr val="9586e5"/>
      </a:accent2>
      <a:accent3>
        <a:srgbClr val="fdb492"/>
      </a:accent3>
      <a:accent4>
        <a:srgbClr val="5a9bb9"/>
      </a:accent4>
      <a:accent5>
        <a:srgbClr val="ff37b9"/>
      </a:accent5>
      <a:accent6>
        <a:srgbClr val="799dff"/>
      </a:accent6>
      <a:hlink>
        <a:srgbClr val="0563c1"/>
      </a:hlink>
      <a:folHlink>
        <a:srgbClr val="954f72"/>
      </a:folHlink>
    </a:clrScheme>
    <a:fontScheme name="Другая 2">
      <a:majorFont>
        <a:latin typeface="YS Text Regular" pitchFamily="0" charset="1"/>
        <a:ea typeface=""/>
        <a:cs typeface=""/>
      </a:majorFont>
      <a:minorFont>
        <a:latin typeface="YS Text Ligh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15.xml><?xml version="1.0" encoding="utf-8"?>
<a:theme xmlns:a="http://schemas.openxmlformats.org/drawingml/2006/main" xmlns:r="http://schemas.openxmlformats.org/officeDocument/2006/relationships" name="Яндекс Образование_Студенты">
  <a:themeElements>
    <a:clrScheme name="Пользовательские 3">
      <a:dk1>
        <a:srgbClr val="ffffff"/>
      </a:dk1>
      <a:lt1>
        <a:srgbClr val="313131"/>
      </a:lt1>
      <a:dk2>
        <a:srgbClr val="f6f6f6"/>
      </a:dk2>
      <a:lt2>
        <a:srgbClr val="c3c8cc"/>
      </a:lt2>
      <a:accent1>
        <a:srgbClr val="dad06e"/>
      </a:accent1>
      <a:accent2>
        <a:srgbClr val="9586e5"/>
      </a:accent2>
      <a:accent3>
        <a:srgbClr val="fdb492"/>
      </a:accent3>
      <a:accent4>
        <a:srgbClr val="5a9bb9"/>
      </a:accent4>
      <a:accent5>
        <a:srgbClr val="ff37b9"/>
      </a:accent5>
      <a:accent6>
        <a:srgbClr val="799dff"/>
      </a:accent6>
      <a:hlink>
        <a:srgbClr val="0563c1"/>
      </a:hlink>
      <a:folHlink>
        <a:srgbClr val="954f72"/>
      </a:folHlink>
    </a:clrScheme>
    <a:fontScheme name="Другая 2">
      <a:majorFont>
        <a:latin typeface="YS Text Regular" pitchFamily="0" charset="1"/>
        <a:ea typeface=""/>
        <a:cs typeface=""/>
      </a:majorFont>
      <a:minorFont>
        <a:latin typeface="YS Text Ligh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16.xml><?xml version="1.0" encoding="utf-8"?>
<a:theme xmlns:a="http://schemas.openxmlformats.org/drawingml/2006/main" xmlns:r="http://schemas.openxmlformats.org/officeDocument/2006/relationships" name="Яндекс Образование_Студенты">
  <a:themeElements>
    <a:clrScheme name="Пользовательские 3">
      <a:dk1>
        <a:srgbClr val="ffffff"/>
      </a:dk1>
      <a:lt1>
        <a:srgbClr val="313131"/>
      </a:lt1>
      <a:dk2>
        <a:srgbClr val="f6f6f6"/>
      </a:dk2>
      <a:lt2>
        <a:srgbClr val="c3c8cc"/>
      </a:lt2>
      <a:accent1>
        <a:srgbClr val="dad06e"/>
      </a:accent1>
      <a:accent2>
        <a:srgbClr val="9586e5"/>
      </a:accent2>
      <a:accent3>
        <a:srgbClr val="fdb492"/>
      </a:accent3>
      <a:accent4>
        <a:srgbClr val="5a9bb9"/>
      </a:accent4>
      <a:accent5>
        <a:srgbClr val="ff37b9"/>
      </a:accent5>
      <a:accent6>
        <a:srgbClr val="799dff"/>
      </a:accent6>
      <a:hlink>
        <a:srgbClr val="0563c1"/>
      </a:hlink>
      <a:folHlink>
        <a:srgbClr val="954f72"/>
      </a:folHlink>
    </a:clrScheme>
    <a:fontScheme name="Другая 2">
      <a:majorFont>
        <a:latin typeface="YS Text Regular" pitchFamily="0" charset="1"/>
        <a:ea typeface=""/>
        <a:cs typeface=""/>
      </a:majorFont>
      <a:minorFont>
        <a:latin typeface="YS Text Ligh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17.xml><?xml version="1.0" encoding="utf-8"?>
<a:theme xmlns:a="http://schemas.openxmlformats.org/drawingml/2006/main" xmlns:r="http://schemas.openxmlformats.org/officeDocument/2006/relationships" name="Яндекс Образование_Студенты">
  <a:themeElements>
    <a:clrScheme name="Пользовательские 3">
      <a:dk1>
        <a:srgbClr val="ffffff"/>
      </a:dk1>
      <a:lt1>
        <a:srgbClr val="313131"/>
      </a:lt1>
      <a:dk2>
        <a:srgbClr val="f6f6f6"/>
      </a:dk2>
      <a:lt2>
        <a:srgbClr val="c3c8cc"/>
      </a:lt2>
      <a:accent1>
        <a:srgbClr val="dad06e"/>
      </a:accent1>
      <a:accent2>
        <a:srgbClr val="9586e5"/>
      </a:accent2>
      <a:accent3>
        <a:srgbClr val="fdb492"/>
      </a:accent3>
      <a:accent4>
        <a:srgbClr val="5a9bb9"/>
      </a:accent4>
      <a:accent5>
        <a:srgbClr val="ff37b9"/>
      </a:accent5>
      <a:accent6>
        <a:srgbClr val="799dff"/>
      </a:accent6>
      <a:hlink>
        <a:srgbClr val="0563c1"/>
      </a:hlink>
      <a:folHlink>
        <a:srgbClr val="954f72"/>
      </a:folHlink>
    </a:clrScheme>
    <a:fontScheme name="Другая 2">
      <a:majorFont>
        <a:latin typeface="YS Text Regular" pitchFamily="0" charset="1"/>
        <a:ea typeface=""/>
        <a:cs typeface=""/>
      </a:majorFont>
      <a:minorFont>
        <a:latin typeface="YS Text Ligh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18.xml><?xml version="1.0" encoding="utf-8"?>
<a:theme xmlns:a="http://schemas.openxmlformats.org/drawingml/2006/main" xmlns:r="http://schemas.openxmlformats.org/officeDocument/2006/relationships" name="Яндекс Образование_Студенты">
  <a:themeElements>
    <a:clrScheme name="Пользовательские 3">
      <a:dk1>
        <a:srgbClr val="ffffff"/>
      </a:dk1>
      <a:lt1>
        <a:srgbClr val="313131"/>
      </a:lt1>
      <a:dk2>
        <a:srgbClr val="f6f6f6"/>
      </a:dk2>
      <a:lt2>
        <a:srgbClr val="c3c8cc"/>
      </a:lt2>
      <a:accent1>
        <a:srgbClr val="dad06e"/>
      </a:accent1>
      <a:accent2>
        <a:srgbClr val="9586e5"/>
      </a:accent2>
      <a:accent3>
        <a:srgbClr val="fdb492"/>
      </a:accent3>
      <a:accent4>
        <a:srgbClr val="5a9bb9"/>
      </a:accent4>
      <a:accent5>
        <a:srgbClr val="ff37b9"/>
      </a:accent5>
      <a:accent6>
        <a:srgbClr val="799dff"/>
      </a:accent6>
      <a:hlink>
        <a:srgbClr val="0563c1"/>
      </a:hlink>
      <a:folHlink>
        <a:srgbClr val="954f72"/>
      </a:folHlink>
    </a:clrScheme>
    <a:fontScheme name="Другая 2">
      <a:majorFont>
        <a:latin typeface="YS Text Regular" pitchFamily="0" charset="1"/>
        <a:ea typeface=""/>
        <a:cs typeface=""/>
      </a:majorFont>
      <a:minorFont>
        <a:latin typeface="YS Text Ligh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19.xml><?xml version="1.0" encoding="utf-8"?>
<a:theme xmlns:a="http://schemas.openxmlformats.org/drawingml/2006/main" xmlns:r="http://schemas.openxmlformats.org/officeDocument/2006/relationships" name="Яндекс Образование_Студенты">
  <a:themeElements>
    <a:clrScheme name="Пользовательские 3">
      <a:dk1>
        <a:srgbClr val="ffffff"/>
      </a:dk1>
      <a:lt1>
        <a:srgbClr val="313131"/>
      </a:lt1>
      <a:dk2>
        <a:srgbClr val="f6f6f6"/>
      </a:dk2>
      <a:lt2>
        <a:srgbClr val="c3c8cc"/>
      </a:lt2>
      <a:accent1>
        <a:srgbClr val="dad06e"/>
      </a:accent1>
      <a:accent2>
        <a:srgbClr val="9586e5"/>
      </a:accent2>
      <a:accent3>
        <a:srgbClr val="fdb492"/>
      </a:accent3>
      <a:accent4>
        <a:srgbClr val="5a9bb9"/>
      </a:accent4>
      <a:accent5>
        <a:srgbClr val="ff37b9"/>
      </a:accent5>
      <a:accent6>
        <a:srgbClr val="799dff"/>
      </a:accent6>
      <a:hlink>
        <a:srgbClr val="0563c1"/>
      </a:hlink>
      <a:folHlink>
        <a:srgbClr val="954f72"/>
      </a:folHlink>
    </a:clrScheme>
    <a:fontScheme name="Другая 2">
      <a:majorFont>
        <a:latin typeface="YS Text Regular" pitchFamily="0" charset="1"/>
        <a:ea typeface=""/>
        <a:cs typeface=""/>
      </a:majorFont>
      <a:minorFont>
        <a:latin typeface="YS Text Ligh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2.xml><?xml version="1.0" encoding="utf-8"?>
<a:theme xmlns:a="http://schemas.openxmlformats.org/drawingml/2006/main" xmlns:r="http://schemas.openxmlformats.org/officeDocument/2006/relationships" name="Яндекс Образование_Студенты">
  <a:themeElements>
    <a:clrScheme name="Пользовательские 3">
      <a:dk1>
        <a:srgbClr val="ffffff"/>
      </a:dk1>
      <a:lt1>
        <a:srgbClr val="313131"/>
      </a:lt1>
      <a:dk2>
        <a:srgbClr val="f6f6f6"/>
      </a:dk2>
      <a:lt2>
        <a:srgbClr val="c3c8cc"/>
      </a:lt2>
      <a:accent1>
        <a:srgbClr val="dad06e"/>
      </a:accent1>
      <a:accent2>
        <a:srgbClr val="9586e5"/>
      </a:accent2>
      <a:accent3>
        <a:srgbClr val="fdb492"/>
      </a:accent3>
      <a:accent4>
        <a:srgbClr val="5a9bb9"/>
      </a:accent4>
      <a:accent5>
        <a:srgbClr val="ff37b9"/>
      </a:accent5>
      <a:accent6>
        <a:srgbClr val="799dff"/>
      </a:accent6>
      <a:hlink>
        <a:srgbClr val="0563c1"/>
      </a:hlink>
      <a:folHlink>
        <a:srgbClr val="954f72"/>
      </a:folHlink>
    </a:clrScheme>
    <a:fontScheme name="Другая 2">
      <a:majorFont>
        <a:latin typeface="YS Text Regular" pitchFamily="0" charset="1"/>
        <a:ea typeface=""/>
        <a:cs typeface=""/>
      </a:majorFont>
      <a:minorFont>
        <a:latin typeface="YS Text Ligh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3.xml><?xml version="1.0" encoding="utf-8"?>
<a:theme xmlns:a="http://schemas.openxmlformats.org/drawingml/2006/main" xmlns:r="http://schemas.openxmlformats.org/officeDocument/2006/relationships" name="Яндекс Образование_Студенты">
  <a:themeElements>
    <a:clrScheme name="Пользовательские 3">
      <a:dk1>
        <a:srgbClr val="ffffff"/>
      </a:dk1>
      <a:lt1>
        <a:srgbClr val="313131"/>
      </a:lt1>
      <a:dk2>
        <a:srgbClr val="f6f6f6"/>
      </a:dk2>
      <a:lt2>
        <a:srgbClr val="c3c8cc"/>
      </a:lt2>
      <a:accent1>
        <a:srgbClr val="dad06e"/>
      </a:accent1>
      <a:accent2>
        <a:srgbClr val="9586e5"/>
      </a:accent2>
      <a:accent3>
        <a:srgbClr val="fdb492"/>
      </a:accent3>
      <a:accent4>
        <a:srgbClr val="5a9bb9"/>
      </a:accent4>
      <a:accent5>
        <a:srgbClr val="ff37b9"/>
      </a:accent5>
      <a:accent6>
        <a:srgbClr val="799dff"/>
      </a:accent6>
      <a:hlink>
        <a:srgbClr val="0563c1"/>
      </a:hlink>
      <a:folHlink>
        <a:srgbClr val="954f72"/>
      </a:folHlink>
    </a:clrScheme>
    <a:fontScheme name="Другая 2">
      <a:majorFont>
        <a:latin typeface="YS Text Regular" pitchFamily="0" charset="1"/>
        <a:ea typeface=""/>
        <a:cs typeface=""/>
      </a:majorFont>
      <a:minorFont>
        <a:latin typeface="YS Text Ligh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4.xml><?xml version="1.0" encoding="utf-8"?>
<a:theme xmlns:a="http://schemas.openxmlformats.org/drawingml/2006/main" xmlns:r="http://schemas.openxmlformats.org/officeDocument/2006/relationships" name="Яндекс Образование_Студенты">
  <a:themeElements>
    <a:clrScheme name="Пользовательские 3">
      <a:dk1>
        <a:srgbClr val="ffffff"/>
      </a:dk1>
      <a:lt1>
        <a:srgbClr val="313131"/>
      </a:lt1>
      <a:dk2>
        <a:srgbClr val="f6f6f6"/>
      </a:dk2>
      <a:lt2>
        <a:srgbClr val="c3c8cc"/>
      </a:lt2>
      <a:accent1>
        <a:srgbClr val="dad06e"/>
      </a:accent1>
      <a:accent2>
        <a:srgbClr val="9586e5"/>
      </a:accent2>
      <a:accent3>
        <a:srgbClr val="fdb492"/>
      </a:accent3>
      <a:accent4>
        <a:srgbClr val="5a9bb9"/>
      </a:accent4>
      <a:accent5>
        <a:srgbClr val="ff37b9"/>
      </a:accent5>
      <a:accent6>
        <a:srgbClr val="799dff"/>
      </a:accent6>
      <a:hlink>
        <a:srgbClr val="0563c1"/>
      </a:hlink>
      <a:folHlink>
        <a:srgbClr val="954f72"/>
      </a:folHlink>
    </a:clrScheme>
    <a:fontScheme name="Другая 2">
      <a:majorFont>
        <a:latin typeface="YS Text Regular" pitchFamily="0" charset="1"/>
        <a:ea typeface=""/>
        <a:cs typeface=""/>
      </a:majorFont>
      <a:minorFont>
        <a:latin typeface="YS Text Ligh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5.xml><?xml version="1.0" encoding="utf-8"?>
<a:theme xmlns:a="http://schemas.openxmlformats.org/drawingml/2006/main" xmlns:r="http://schemas.openxmlformats.org/officeDocument/2006/relationships" name="Яндекс Образование_Студенты">
  <a:themeElements>
    <a:clrScheme name="Пользовательские 3">
      <a:dk1>
        <a:srgbClr val="ffffff"/>
      </a:dk1>
      <a:lt1>
        <a:srgbClr val="313131"/>
      </a:lt1>
      <a:dk2>
        <a:srgbClr val="f6f6f6"/>
      </a:dk2>
      <a:lt2>
        <a:srgbClr val="c3c8cc"/>
      </a:lt2>
      <a:accent1>
        <a:srgbClr val="dad06e"/>
      </a:accent1>
      <a:accent2>
        <a:srgbClr val="9586e5"/>
      </a:accent2>
      <a:accent3>
        <a:srgbClr val="fdb492"/>
      </a:accent3>
      <a:accent4>
        <a:srgbClr val="5a9bb9"/>
      </a:accent4>
      <a:accent5>
        <a:srgbClr val="ff37b9"/>
      </a:accent5>
      <a:accent6>
        <a:srgbClr val="799dff"/>
      </a:accent6>
      <a:hlink>
        <a:srgbClr val="0563c1"/>
      </a:hlink>
      <a:folHlink>
        <a:srgbClr val="954f72"/>
      </a:folHlink>
    </a:clrScheme>
    <a:fontScheme name="Другая 2">
      <a:majorFont>
        <a:latin typeface="YS Text Regular" pitchFamily="0" charset="1"/>
        <a:ea typeface=""/>
        <a:cs typeface=""/>
      </a:majorFont>
      <a:minorFont>
        <a:latin typeface="YS Text Ligh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6.xml><?xml version="1.0" encoding="utf-8"?>
<a:theme xmlns:a="http://schemas.openxmlformats.org/drawingml/2006/main" xmlns:r="http://schemas.openxmlformats.org/officeDocument/2006/relationships" name="Яндекс Образование_Студенты">
  <a:themeElements>
    <a:clrScheme name="Пользовательские 3">
      <a:dk1>
        <a:srgbClr val="ffffff"/>
      </a:dk1>
      <a:lt1>
        <a:srgbClr val="313131"/>
      </a:lt1>
      <a:dk2>
        <a:srgbClr val="f6f6f6"/>
      </a:dk2>
      <a:lt2>
        <a:srgbClr val="c3c8cc"/>
      </a:lt2>
      <a:accent1>
        <a:srgbClr val="dad06e"/>
      </a:accent1>
      <a:accent2>
        <a:srgbClr val="9586e5"/>
      </a:accent2>
      <a:accent3>
        <a:srgbClr val="fdb492"/>
      </a:accent3>
      <a:accent4>
        <a:srgbClr val="5a9bb9"/>
      </a:accent4>
      <a:accent5>
        <a:srgbClr val="ff37b9"/>
      </a:accent5>
      <a:accent6>
        <a:srgbClr val="799dff"/>
      </a:accent6>
      <a:hlink>
        <a:srgbClr val="0563c1"/>
      </a:hlink>
      <a:folHlink>
        <a:srgbClr val="954f72"/>
      </a:folHlink>
    </a:clrScheme>
    <a:fontScheme name="Другая 2">
      <a:majorFont>
        <a:latin typeface="YS Text Regular" pitchFamily="0" charset="1"/>
        <a:ea typeface=""/>
        <a:cs typeface=""/>
      </a:majorFont>
      <a:minorFont>
        <a:latin typeface="YS Text Ligh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7.xml><?xml version="1.0" encoding="utf-8"?>
<a:theme xmlns:a="http://schemas.openxmlformats.org/drawingml/2006/main" xmlns:r="http://schemas.openxmlformats.org/officeDocument/2006/relationships" name="Яндекс Образование_Студенты">
  <a:themeElements>
    <a:clrScheme name="Пользовательские 3">
      <a:dk1>
        <a:srgbClr val="ffffff"/>
      </a:dk1>
      <a:lt1>
        <a:srgbClr val="313131"/>
      </a:lt1>
      <a:dk2>
        <a:srgbClr val="f6f6f6"/>
      </a:dk2>
      <a:lt2>
        <a:srgbClr val="c3c8cc"/>
      </a:lt2>
      <a:accent1>
        <a:srgbClr val="dad06e"/>
      </a:accent1>
      <a:accent2>
        <a:srgbClr val="9586e5"/>
      </a:accent2>
      <a:accent3>
        <a:srgbClr val="fdb492"/>
      </a:accent3>
      <a:accent4>
        <a:srgbClr val="5a9bb9"/>
      </a:accent4>
      <a:accent5>
        <a:srgbClr val="ff37b9"/>
      </a:accent5>
      <a:accent6>
        <a:srgbClr val="799dff"/>
      </a:accent6>
      <a:hlink>
        <a:srgbClr val="0563c1"/>
      </a:hlink>
      <a:folHlink>
        <a:srgbClr val="954f72"/>
      </a:folHlink>
    </a:clrScheme>
    <a:fontScheme name="Другая 2">
      <a:majorFont>
        <a:latin typeface="YS Text Regular" pitchFamily="0" charset="1"/>
        <a:ea typeface=""/>
        <a:cs typeface=""/>
      </a:majorFont>
      <a:minorFont>
        <a:latin typeface="YS Text Ligh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8.xml><?xml version="1.0" encoding="utf-8"?>
<a:theme xmlns:a="http://schemas.openxmlformats.org/drawingml/2006/main" xmlns:r="http://schemas.openxmlformats.org/officeDocument/2006/relationships" name="Яндекс Образование_Студенты">
  <a:themeElements>
    <a:clrScheme name="Пользовательские 3">
      <a:dk1>
        <a:srgbClr val="ffffff"/>
      </a:dk1>
      <a:lt1>
        <a:srgbClr val="313131"/>
      </a:lt1>
      <a:dk2>
        <a:srgbClr val="f6f6f6"/>
      </a:dk2>
      <a:lt2>
        <a:srgbClr val="c3c8cc"/>
      </a:lt2>
      <a:accent1>
        <a:srgbClr val="dad06e"/>
      </a:accent1>
      <a:accent2>
        <a:srgbClr val="9586e5"/>
      </a:accent2>
      <a:accent3>
        <a:srgbClr val="fdb492"/>
      </a:accent3>
      <a:accent4>
        <a:srgbClr val="5a9bb9"/>
      </a:accent4>
      <a:accent5>
        <a:srgbClr val="ff37b9"/>
      </a:accent5>
      <a:accent6>
        <a:srgbClr val="799dff"/>
      </a:accent6>
      <a:hlink>
        <a:srgbClr val="0563c1"/>
      </a:hlink>
      <a:folHlink>
        <a:srgbClr val="954f72"/>
      </a:folHlink>
    </a:clrScheme>
    <a:fontScheme name="Другая 2">
      <a:majorFont>
        <a:latin typeface="YS Text Regular" pitchFamily="0" charset="1"/>
        <a:ea typeface=""/>
        <a:cs typeface=""/>
      </a:majorFont>
      <a:minorFont>
        <a:latin typeface="YS Text Ligh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ppt/theme/theme9.xml><?xml version="1.0" encoding="utf-8"?>
<a:theme xmlns:a="http://schemas.openxmlformats.org/drawingml/2006/main" xmlns:r="http://schemas.openxmlformats.org/officeDocument/2006/relationships" name="Яндекс Образование_Студенты">
  <a:themeElements>
    <a:clrScheme name="Пользовательские 3">
      <a:dk1>
        <a:srgbClr val="ffffff"/>
      </a:dk1>
      <a:lt1>
        <a:srgbClr val="313131"/>
      </a:lt1>
      <a:dk2>
        <a:srgbClr val="f6f6f6"/>
      </a:dk2>
      <a:lt2>
        <a:srgbClr val="c3c8cc"/>
      </a:lt2>
      <a:accent1>
        <a:srgbClr val="dad06e"/>
      </a:accent1>
      <a:accent2>
        <a:srgbClr val="9586e5"/>
      </a:accent2>
      <a:accent3>
        <a:srgbClr val="fdb492"/>
      </a:accent3>
      <a:accent4>
        <a:srgbClr val="5a9bb9"/>
      </a:accent4>
      <a:accent5>
        <a:srgbClr val="ff37b9"/>
      </a:accent5>
      <a:accent6>
        <a:srgbClr val="799dff"/>
      </a:accent6>
      <a:hlink>
        <a:srgbClr val="0563c1"/>
      </a:hlink>
      <a:folHlink>
        <a:srgbClr val="954f72"/>
      </a:folHlink>
    </a:clrScheme>
    <a:fontScheme name="Другая 2">
      <a:majorFont>
        <a:latin typeface="YS Text Regular" pitchFamily="0" charset="1"/>
        <a:ea typeface=""/>
        <a:cs typeface=""/>
      </a:majorFont>
      <a:minorFont>
        <a:latin typeface="YS Text Ligh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 l="0" t="0" r="0" b="0"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 l="0" t="0" r="0" b="0"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 l="0" t="0" r="0" b="0"/>
        </a:gradFill>
      </a:bgFillStyleLst>
    </a:fmtScheme>
  </a:themeElements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859</TotalTime>
  <Application>LibreOffice/24.2.7.2$Linux_X86_64 LibreOffice_project/420$Build-2</Application>
  <AppVersion>15.0000</AppVersion>
  <Words>883</Words>
  <Paragraphs>173</Paragraphs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21-09-28T20:28:54Z</dcterms:created>
  <dc:creator>Мария Журавлева</dc:creator>
  <dc:description/>
  <dc:language>ru-RU</dc:language>
  <cp:lastModifiedBy/>
  <dcterms:modified xsi:type="dcterms:W3CDTF">2025-10-16T23:59:04Z</dcterms:modified>
  <cp:revision>1430</cp:revision>
  <dc:subject/>
  <dc:title>Презентация PowerPoint</dc:titl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resentationFormat">
    <vt:lpwstr>Широкоэкранный</vt:lpwstr>
  </property>
  <property fmtid="{D5CDD505-2E9C-101B-9397-08002B2CF9AE}" pid="3" name="Slides">
    <vt:i4>23</vt:i4>
  </property>
</Properties>
</file>